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media/image24.bin" ContentType="image/png"/>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32"/>
  </p:sldMasterIdLst>
  <p:notesMasterIdLst>
    <p:notesMasterId r:id="rId56"/>
  </p:notesMasterIdLst>
  <p:sldIdLst>
    <p:sldId id="272" r:id="rId33"/>
    <p:sldId id="280" r:id="rId34"/>
    <p:sldId id="256" r:id="rId35"/>
    <p:sldId id="276" r:id="rId36"/>
    <p:sldId id="281" r:id="rId37"/>
    <p:sldId id="279" r:id="rId38"/>
    <p:sldId id="257" r:id="rId39"/>
    <p:sldId id="277" r:id="rId40"/>
    <p:sldId id="282" r:id="rId41"/>
    <p:sldId id="274" r:id="rId42"/>
    <p:sldId id="278" r:id="rId43"/>
    <p:sldId id="271" r:id="rId44"/>
    <p:sldId id="286" r:id="rId45"/>
    <p:sldId id="284" r:id="rId46"/>
    <p:sldId id="295" r:id="rId47"/>
    <p:sldId id="287" r:id="rId48"/>
    <p:sldId id="288" r:id="rId49"/>
    <p:sldId id="289" r:id="rId50"/>
    <p:sldId id="290" r:id="rId51"/>
    <p:sldId id="291" r:id="rId52"/>
    <p:sldId id="292" r:id="rId53"/>
    <p:sldId id="293" r:id="rId54"/>
    <p:sldId id="264"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3940540-5765-B142-9AE8-280342EA5B6A}" v="44" dt="2023-03-31T07:57:23.4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3" autoAdjust="0"/>
    <p:restoredTop sz="96327"/>
  </p:normalViewPr>
  <p:slideViewPr>
    <p:cSldViewPr snapToGrid="0" snapToObjects="1">
      <p:cViewPr varScale="1">
        <p:scale>
          <a:sx n="107" d="100"/>
          <a:sy n="107" d="100"/>
        </p:scale>
        <p:origin x="776" y="1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slide" Target="slides/slide7.xml"/><Relationship Id="rId21" Type="http://schemas.openxmlformats.org/officeDocument/2006/relationships/customXml" Target="../customXml/item21.xml"/><Relationship Id="rId34" Type="http://schemas.openxmlformats.org/officeDocument/2006/relationships/slide" Target="slides/slide2.xml"/><Relationship Id="rId42" Type="http://schemas.openxmlformats.org/officeDocument/2006/relationships/slide" Target="slides/slide10.xml"/><Relationship Id="rId47" Type="http://schemas.openxmlformats.org/officeDocument/2006/relationships/slide" Target="slides/slide15.xml"/><Relationship Id="rId50" Type="http://schemas.openxmlformats.org/officeDocument/2006/relationships/slide" Target="slides/slide18.xml"/><Relationship Id="rId55" Type="http://schemas.openxmlformats.org/officeDocument/2006/relationships/slide" Target="slides/slide23.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Master" Target="slideMasters/slideMaster1.xml"/><Relationship Id="rId37" Type="http://schemas.openxmlformats.org/officeDocument/2006/relationships/slide" Target="slides/slide5.xml"/><Relationship Id="rId40" Type="http://schemas.openxmlformats.org/officeDocument/2006/relationships/slide" Target="slides/slide8.xml"/><Relationship Id="rId45" Type="http://schemas.openxmlformats.org/officeDocument/2006/relationships/slide" Target="slides/slide13.xml"/><Relationship Id="rId53" Type="http://schemas.openxmlformats.org/officeDocument/2006/relationships/slide" Target="slides/slide21.xml"/><Relationship Id="rId58" Type="http://schemas.openxmlformats.org/officeDocument/2006/relationships/viewProps" Target="viewProps.xml"/><Relationship Id="rId5" Type="http://schemas.openxmlformats.org/officeDocument/2006/relationships/customXml" Target="../customXml/item5.xml"/><Relationship Id="rId61" Type="http://schemas.microsoft.com/office/2016/11/relationships/changesInfo" Target="changesInfos/changesInfo1.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slide" Target="slides/slide3.xml"/><Relationship Id="rId43" Type="http://schemas.openxmlformats.org/officeDocument/2006/relationships/slide" Target="slides/slide11.xml"/><Relationship Id="rId48" Type="http://schemas.openxmlformats.org/officeDocument/2006/relationships/slide" Target="slides/slide16.xml"/><Relationship Id="rId56" Type="http://schemas.openxmlformats.org/officeDocument/2006/relationships/notesMaster" Target="notesMasters/notesMaster1.xml"/><Relationship Id="rId8" Type="http://schemas.openxmlformats.org/officeDocument/2006/relationships/customXml" Target="../customXml/item8.xml"/><Relationship Id="rId51" Type="http://schemas.openxmlformats.org/officeDocument/2006/relationships/slide" Target="slides/slide19.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 Target="slides/slide1.xml"/><Relationship Id="rId38" Type="http://schemas.openxmlformats.org/officeDocument/2006/relationships/slide" Target="slides/slide6.xml"/><Relationship Id="rId46" Type="http://schemas.openxmlformats.org/officeDocument/2006/relationships/slide" Target="slides/slide14.xml"/><Relationship Id="rId59" Type="http://schemas.openxmlformats.org/officeDocument/2006/relationships/theme" Target="theme/theme1.xml"/><Relationship Id="rId20" Type="http://schemas.openxmlformats.org/officeDocument/2006/relationships/customXml" Target="../customXml/item20.xml"/><Relationship Id="rId41" Type="http://schemas.openxmlformats.org/officeDocument/2006/relationships/slide" Target="slides/slide9.xml"/><Relationship Id="rId54" Type="http://schemas.openxmlformats.org/officeDocument/2006/relationships/slide" Target="slides/slide22.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4.xml"/><Relationship Id="rId49" Type="http://schemas.openxmlformats.org/officeDocument/2006/relationships/slide" Target="slides/slide17.xml"/><Relationship Id="rId57" Type="http://schemas.openxmlformats.org/officeDocument/2006/relationships/presProps" Target="presProps.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12.xml"/><Relationship Id="rId52" Type="http://schemas.openxmlformats.org/officeDocument/2006/relationships/slide" Target="slides/slide20.xml"/><Relationship Id="rId60"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libalta, Berk" userId="2336f646-0fbc-45f7-ad43-dedf81838ce9" providerId="ADAL" clId="{D3940540-5765-B142-9AE8-280342EA5B6A}"/>
    <pc:docChg chg="undo custSel addSld delSld modSld sldOrd">
      <pc:chgData name="Delibalta, Berk" userId="2336f646-0fbc-45f7-ad43-dedf81838ce9" providerId="ADAL" clId="{D3940540-5765-B142-9AE8-280342EA5B6A}" dt="2023-03-31T07:57:23.817" v="280" actId="478"/>
      <pc:docMkLst>
        <pc:docMk/>
      </pc:docMkLst>
      <pc:sldChg chg="addSp delSp modSp mod">
        <pc:chgData name="Delibalta, Berk" userId="2336f646-0fbc-45f7-ad43-dedf81838ce9" providerId="ADAL" clId="{D3940540-5765-B142-9AE8-280342EA5B6A}" dt="2023-03-31T07:57:23.817" v="280" actId="478"/>
        <pc:sldMkLst>
          <pc:docMk/>
          <pc:sldMk cId="3173022317" sldId="281"/>
        </pc:sldMkLst>
        <pc:picChg chg="add del">
          <ac:chgData name="Delibalta, Berk" userId="2336f646-0fbc-45f7-ad43-dedf81838ce9" providerId="ADAL" clId="{D3940540-5765-B142-9AE8-280342EA5B6A}" dt="2023-03-31T07:57:23.817" v="280" actId="478"/>
          <ac:picMkLst>
            <pc:docMk/>
            <pc:sldMk cId="3173022317" sldId="281"/>
            <ac:picMk id="5" creationId="{C1577ABB-412C-4FAD-87FC-7B8597ED48D7}"/>
          </ac:picMkLst>
        </pc:picChg>
        <pc:picChg chg="add del mod">
          <ac:chgData name="Delibalta, Berk" userId="2336f646-0fbc-45f7-ad43-dedf81838ce9" providerId="ADAL" clId="{D3940540-5765-B142-9AE8-280342EA5B6A}" dt="2023-03-31T07:57:23.437" v="279"/>
          <ac:picMkLst>
            <pc:docMk/>
            <pc:sldMk cId="3173022317" sldId="281"/>
            <ac:picMk id="7" creationId="{21F7C612-5468-3E4F-0807-8164C88A5055}"/>
          </ac:picMkLst>
        </pc:picChg>
        <pc:cxnChg chg="mod">
          <ac:chgData name="Delibalta, Berk" userId="2336f646-0fbc-45f7-ad43-dedf81838ce9" providerId="ADAL" clId="{D3940540-5765-B142-9AE8-280342EA5B6A}" dt="2023-03-31T07:57:22.227" v="276" actId="1076"/>
          <ac:cxnSpMkLst>
            <pc:docMk/>
            <pc:sldMk cId="3173022317" sldId="281"/>
            <ac:cxnSpMk id="18" creationId="{B6E8F836-83DA-4F91-A4CE-44845E59FB0A}"/>
          </ac:cxnSpMkLst>
        </pc:cxnChg>
      </pc:sldChg>
      <pc:sldChg chg="addSp delSp modSp add mod">
        <pc:chgData name="Delibalta, Berk" userId="2336f646-0fbc-45f7-ad43-dedf81838ce9" providerId="ADAL" clId="{D3940540-5765-B142-9AE8-280342EA5B6A}" dt="2023-03-31T07:55:56.584" v="266" actId="113"/>
        <pc:sldMkLst>
          <pc:docMk/>
          <pc:sldMk cId="3573283633" sldId="287"/>
        </pc:sldMkLst>
        <pc:spChg chg="del mod">
          <ac:chgData name="Delibalta, Berk" userId="2336f646-0fbc-45f7-ad43-dedf81838ce9" providerId="ADAL" clId="{D3940540-5765-B142-9AE8-280342EA5B6A}" dt="2023-03-31T07:46:57.193" v="87" actId="478"/>
          <ac:spMkLst>
            <pc:docMk/>
            <pc:sldMk cId="3573283633" sldId="287"/>
            <ac:spMk id="4" creationId="{00000000-0000-0000-0000-000000000000}"/>
          </ac:spMkLst>
        </pc:spChg>
        <pc:spChg chg="del">
          <ac:chgData name="Delibalta, Berk" userId="2336f646-0fbc-45f7-ad43-dedf81838ce9" providerId="ADAL" clId="{D3940540-5765-B142-9AE8-280342EA5B6A}" dt="2023-03-31T07:46:59.538" v="89" actId="478"/>
          <ac:spMkLst>
            <pc:docMk/>
            <pc:sldMk cId="3573283633" sldId="287"/>
            <ac:spMk id="5" creationId="{00000000-0000-0000-0000-000000000000}"/>
          </ac:spMkLst>
        </pc:spChg>
        <pc:spChg chg="del mod">
          <ac:chgData name="Delibalta, Berk" userId="2336f646-0fbc-45f7-ad43-dedf81838ce9" providerId="ADAL" clId="{D3940540-5765-B142-9AE8-280342EA5B6A}" dt="2023-03-31T07:46:58.423" v="88" actId="478"/>
          <ac:spMkLst>
            <pc:docMk/>
            <pc:sldMk cId="3573283633" sldId="287"/>
            <ac:spMk id="6" creationId="{00000000-0000-0000-0000-000000000000}"/>
          </ac:spMkLst>
        </pc:spChg>
        <pc:spChg chg="add mod">
          <ac:chgData name="Delibalta, Berk" userId="2336f646-0fbc-45f7-ad43-dedf81838ce9" providerId="ADAL" clId="{D3940540-5765-B142-9AE8-280342EA5B6A}" dt="2023-03-31T07:55:56.584" v="266" actId="113"/>
          <ac:spMkLst>
            <pc:docMk/>
            <pc:sldMk cId="3573283633" sldId="287"/>
            <ac:spMk id="7" creationId="{0640C8A4-F159-DEB7-F97A-AF1AA80371A3}"/>
          </ac:spMkLst>
        </pc:spChg>
        <pc:picChg chg="add mod">
          <ac:chgData name="Delibalta, Berk" userId="2336f646-0fbc-45f7-ad43-dedf81838ce9" providerId="ADAL" clId="{D3940540-5765-B142-9AE8-280342EA5B6A}" dt="2023-03-31T07:47:34.196" v="96" actId="1076"/>
          <ac:picMkLst>
            <pc:docMk/>
            <pc:sldMk cId="3573283633" sldId="287"/>
            <ac:picMk id="3" creationId="{B98830A6-D613-12CE-E64F-10798E2F6B63}"/>
          </ac:picMkLst>
        </pc:picChg>
      </pc:sldChg>
      <pc:sldChg chg="addSp delSp modSp add mod">
        <pc:chgData name="Delibalta, Berk" userId="2336f646-0fbc-45f7-ad43-dedf81838ce9" providerId="ADAL" clId="{D3940540-5765-B142-9AE8-280342EA5B6A}" dt="2023-03-31T07:55:52.969" v="265" actId="113"/>
        <pc:sldMkLst>
          <pc:docMk/>
          <pc:sldMk cId="1745348877" sldId="288"/>
        </pc:sldMkLst>
        <pc:spChg chg="mod">
          <ac:chgData name="Delibalta, Berk" userId="2336f646-0fbc-45f7-ad43-dedf81838ce9" providerId="ADAL" clId="{D3940540-5765-B142-9AE8-280342EA5B6A}" dt="2023-03-31T07:55:52.969" v="265" actId="113"/>
          <ac:spMkLst>
            <pc:docMk/>
            <pc:sldMk cId="1745348877" sldId="288"/>
            <ac:spMk id="7" creationId="{0640C8A4-F159-DEB7-F97A-AF1AA80371A3}"/>
          </ac:spMkLst>
        </pc:spChg>
        <pc:picChg chg="del">
          <ac:chgData name="Delibalta, Berk" userId="2336f646-0fbc-45f7-ad43-dedf81838ce9" providerId="ADAL" clId="{D3940540-5765-B142-9AE8-280342EA5B6A}" dt="2023-03-31T07:49:10.097" v="177" actId="478"/>
          <ac:picMkLst>
            <pc:docMk/>
            <pc:sldMk cId="1745348877" sldId="288"/>
            <ac:picMk id="3" creationId="{B98830A6-D613-12CE-E64F-10798E2F6B63}"/>
          </ac:picMkLst>
        </pc:picChg>
        <pc:picChg chg="add mod">
          <ac:chgData name="Delibalta, Berk" userId="2336f646-0fbc-45f7-ad43-dedf81838ce9" providerId="ADAL" clId="{D3940540-5765-B142-9AE8-280342EA5B6A}" dt="2023-03-31T07:49:39.873" v="183" actId="1076"/>
          <ac:picMkLst>
            <pc:docMk/>
            <pc:sldMk cId="1745348877" sldId="288"/>
            <ac:picMk id="4" creationId="{81AFADC4-4E13-CAD7-47A8-3332B8170D29}"/>
          </ac:picMkLst>
        </pc:picChg>
      </pc:sldChg>
      <pc:sldChg chg="addSp delSp modSp add mod">
        <pc:chgData name="Delibalta, Berk" userId="2336f646-0fbc-45f7-ad43-dedf81838ce9" providerId="ADAL" clId="{D3940540-5765-B142-9AE8-280342EA5B6A}" dt="2023-03-31T07:50:13.175" v="191" actId="20577"/>
        <pc:sldMkLst>
          <pc:docMk/>
          <pc:sldMk cId="2312276940" sldId="289"/>
        </pc:sldMkLst>
        <pc:spChg chg="mod">
          <ac:chgData name="Delibalta, Berk" userId="2336f646-0fbc-45f7-ad43-dedf81838ce9" providerId="ADAL" clId="{D3940540-5765-B142-9AE8-280342EA5B6A}" dt="2023-03-31T07:50:13.175" v="191" actId="20577"/>
          <ac:spMkLst>
            <pc:docMk/>
            <pc:sldMk cId="2312276940" sldId="289"/>
            <ac:spMk id="7" creationId="{0640C8A4-F159-DEB7-F97A-AF1AA80371A3}"/>
          </ac:spMkLst>
        </pc:spChg>
        <pc:picChg chg="add mod">
          <ac:chgData name="Delibalta, Berk" userId="2336f646-0fbc-45f7-ad43-dedf81838ce9" providerId="ADAL" clId="{D3940540-5765-B142-9AE8-280342EA5B6A}" dt="2023-03-31T07:50:10.133" v="189" actId="1076"/>
          <ac:picMkLst>
            <pc:docMk/>
            <pc:sldMk cId="2312276940" sldId="289"/>
            <ac:picMk id="3" creationId="{B10B4AA0-3631-2BAE-6535-761EA7E6979F}"/>
          </ac:picMkLst>
        </pc:picChg>
        <pc:picChg chg="del">
          <ac:chgData name="Delibalta, Berk" userId="2336f646-0fbc-45f7-ad43-dedf81838ce9" providerId="ADAL" clId="{D3940540-5765-B142-9AE8-280342EA5B6A}" dt="2023-03-31T07:49:49.179" v="185" actId="478"/>
          <ac:picMkLst>
            <pc:docMk/>
            <pc:sldMk cId="2312276940" sldId="289"/>
            <ac:picMk id="4" creationId="{81AFADC4-4E13-CAD7-47A8-3332B8170D29}"/>
          </ac:picMkLst>
        </pc:picChg>
      </pc:sldChg>
      <pc:sldChg chg="addSp delSp modSp add mod">
        <pc:chgData name="Delibalta, Berk" userId="2336f646-0fbc-45f7-ad43-dedf81838ce9" providerId="ADAL" clId="{D3940540-5765-B142-9AE8-280342EA5B6A}" dt="2023-03-31T07:55:59.783" v="267" actId="113"/>
        <pc:sldMkLst>
          <pc:docMk/>
          <pc:sldMk cId="3384650389" sldId="290"/>
        </pc:sldMkLst>
        <pc:spChg chg="mod">
          <ac:chgData name="Delibalta, Berk" userId="2336f646-0fbc-45f7-ad43-dedf81838ce9" providerId="ADAL" clId="{D3940540-5765-B142-9AE8-280342EA5B6A}" dt="2023-03-31T07:55:59.783" v="267" actId="113"/>
          <ac:spMkLst>
            <pc:docMk/>
            <pc:sldMk cId="3384650389" sldId="290"/>
            <ac:spMk id="7" creationId="{0640C8A4-F159-DEB7-F97A-AF1AA80371A3}"/>
          </ac:spMkLst>
        </pc:spChg>
        <pc:picChg chg="del">
          <ac:chgData name="Delibalta, Berk" userId="2336f646-0fbc-45f7-ad43-dedf81838ce9" providerId="ADAL" clId="{D3940540-5765-B142-9AE8-280342EA5B6A}" dt="2023-03-31T07:50:20.367" v="193" actId="478"/>
          <ac:picMkLst>
            <pc:docMk/>
            <pc:sldMk cId="3384650389" sldId="290"/>
            <ac:picMk id="3" creationId="{B10B4AA0-3631-2BAE-6535-761EA7E6979F}"/>
          </ac:picMkLst>
        </pc:picChg>
        <pc:picChg chg="add mod">
          <ac:chgData name="Delibalta, Berk" userId="2336f646-0fbc-45f7-ad43-dedf81838ce9" providerId="ADAL" clId="{D3940540-5765-B142-9AE8-280342EA5B6A}" dt="2023-03-31T07:50:41" v="197" actId="1076"/>
          <ac:picMkLst>
            <pc:docMk/>
            <pc:sldMk cId="3384650389" sldId="290"/>
            <ac:picMk id="4" creationId="{802DF714-C6FC-FF51-5C54-C20DE90ADE2F}"/>
          </ac:picMkLst>
        </pc:picChg>
      </pc:sldChg>
      <pc:sldChg chg="addSp delSp modSp add mod">
        <pc:chgData name="Delibalta, Berk" userId="2336f646-0fbc-45f7-ad43-dedf81838ce9" providerId="ADAL" clId="{D3940540-5765-B142-9AE8-280342EA5B6A}" dt="2023-03-31T07:56:04.219" v="268" actId="113"/>
        <pc:sldMkLst>
          <pc:docMk/>
          <pc:sldMk cId="2072496514" sldId="291"/>
        </pc:sldMkLst>
        <pc:spChg chg="mod">
          <ac:chgData name="Delibalta, Berk" userId="2336f646-0fbc-45f7-ad43-dedf81838ce9" providerId="ADAL" clId="{D3940540-5765-B142-9AE8-280342EA5B6A}" dt="2023-03-31T07:56:04.219" v="268" actId="113"/>
          <ac:spMkLst>
            <pc:docMk/>
            <pc:sldMk cId="2072496514" sldId="291"/>
            <ac:spMk id="7" creationId="{0640C8A4-F159-DEB7-F97A-AF1AA80371A3}"/>
          </ac:spMkLst>
        </pc:spChg>
        <pc:picChg chg="add mod">
          <ac:chgData name="Delibalta, Berk" userId="2336f646-0fbc-45f7-ad43-dedf81838ce9" providerId="ADAL" clId="{D3940540-5765-B142-9AE8-280342EA5B6A}" dt="2023-03-31T07:51:56.829" v="205" actId="1076"/>
          <ac:picMkLst>
            <pc:docMk/>
            <pc:sldMk cId="2072496514" sldId="291"/>
            <ac:picMk id="3" creationId="{3357DA11-3EF5-1B82-A83F-C8890015FF65}"/>
          </ac:picMkLst>
        </pc:picChg>
        <pc:picChg chg="del">
          <ac:chgData name="Delibalta, Berk" userId="2336f646-0fbc-45f7-ad43-dedf81838ce9" providerId="ADAL" clId="{D3940540-5765-B142-9AE8-280342EA5B6A}" dt="2023-03-31T07:50:47.750" v="201" actId="478"/>
          <ac:picMkLst>
            <pc:docMk/>
            <pc:sldMk cId="2072496514" sldId="291"/>
            <ac:picMk id="4" creationId="{802DF714-C6FC-FF51-5C54-C20DE90ADE2F}"/>
          </ac:picMkLst>
        </pc:picChg>
      </pc:sldChg>
      <pc:sldChg chg="addSp delSp modSp add mod">
        <pc:chgData name="Delibalta, Berk" userId="2336f646-0fbc-45f7-ad43-dedf81838ce9" providerId="ADAL" clId="{D3940540-5765-B142-9AE8-280342EA5B6A}" dt="2023-03-31T07:56:08.215" v="269" actId="113"/>
        <pc:sldMkLst>
          <pc:docMk/>
          <pc:sldMk cId="850990390" sldId="292"/>
        </pc:sldMkLst>
        <pc:spChg chg="mod">
          <ac:chgData name="Delibalta, Berk" userId="2336f646-0fbc-45f7-ad43-dedf81838ce9" providerId="ADAL" clId="{D3940540-5765-B142-9AE8-280342EA5B6A}" dt="2023-03-31T07:56:08.215" v="269" actId="113"/>
          <ac:spMkLst>
            <pc:docMk/>
            <pc:sldMk cId="850990390" sldId="292"/>
            <ac:spMk id="7" creationId="{0640C8A4-F159-DEB7-F97A-AF1AA80371A3}"/>
          </ac:spMkLst>
        </pc:spChg>
        <pc:picChg chg="del">
          <ac:chgData name="Delibalta, Berk" userId="2336f646-0fbc-45f7-ad43-dedf81838ce9" providerId="ADAL" clId="{D3940540-5765-B142-9AE8-280342EA5B6A}" dt="2023-03-31T07:52:09.725" v="209" actId="478"/>
          <ac:picMkLst>
            <pc:docMk/>
            <pc:sldMk cId="850990390" sldId="292"/>
            <ac:picMk id="3" creationId="{3357DA11-3EF5-1B82-A83F-C8890015FF65}"/>
          </ac:picMkLst>
        </pc:picChg>
        <pc:picChg chg="add mod">
          <ac:chgData name="Delibalta, Berk" userId="2336f646-0fbc-45f7-ad43-dedf81838ce9" providerId="ADAL" clId="{D3940540-5765-B142-9AE8-280342EA5B6A}" dt="2023-03-31T07:52:26.160" v="213" actId="1076"/>
          <ac:picMkLst>
            <pc:docMk/>
            <pc:sldMk cId="850990390" sldId="292"/>
            <ac:picMk id="4" creationId="{E7812E98-D588-4A78-94BC-3219F87263DE}"/>
          </ac:picMkLst>
        </pc:picChg>
      </pc:sldChg>
      <pc:sldChg chg="addSp delSp modSp add mod">
        <pc:chgData name="Delibalta, Berk" userId="2336f646-0fbc-45f7-ad43-dedf81838ce9" providerId="ADAL" clId="{D3940540-5765-B142-9AE8-280342EA5B6A}" dt="2023-03-31T07:56:11.867" v="270" actId="113"/>
        <pc:sldMkLst>
          <pc:docMk/>
          <pc:sldMk cId="3065546725" sldId="293"/>
        </pc:sldMkLst>
        <pc:spChg chg="mod">
          <ac:chgData name="Delibalta, Berk" userId="2336f646-0fbc-45f7-ad43-dedf81838ce9" providerId="ADAL" clId="{D3940540-5765-B142-9AE8-280342EA5B6A}" dt="2023-03-31T07:56:11.867" v="270" actId="113"/>
          <ac:spMkLst>
            <pc:docMk/>
            <pc:sldMk cId="3065546725" sldId="293"/>
            <ac:spMk id="7" creationId="{0640C8A4-F159-DEB7-F97A-AF1AA80371A3}"/>
          </ac:spMkLst>
        </pc:spChg>
        <pc:picChg chg="add mod">
          <ac:chgData name="Delibalta, Berk" userId="2336f646-0fbc-45f7-ad43-dedf81838ce9" providerId="ADAL" clId="{D3940540-5765-B142-9AE8-280342EA5B6A}" dt="2023-03-31T07:52:50.343" v="223" actId="1076"/>
          <ac:picMkLst>
            <pc:docMk/>
            <pc:sldMk cId="3065546725" sldId="293"/>
            <ac:picMk id="3" creationId="{7B185880-243D-D59A-D3EA-5F21B377A275}"/>
          </ac:picMkLst>
        </pc:picChg>
        <pc:picChg chg="del">
          <ac:chgData name="Delibalta, Berk" userId="2336f646-0fbc-45f7-ad43-dedf81838ce9" providerId="ADAL" clId="{D3940540-5765-B142-9AE8-280342EA5B6A}" dt="2023-03-31T07:52:37.312" v="219" actId="478"/>
          <ac:picMkLst>
            <pc:docMk/>
            <pc:sldMk cId="3065546725" sldId="293"/>
            <ac:picMk id="4" creationId="{E7812E98-D588-4A78-94BC-3219F87263DE}"/>
          </ac:picMkLst>
        </pc:picChg>
      </pc:sldChg>
      <pc:sldChg chg="add del ord">
        <pc:chgData name="Delibalta, Berk" userId="2336f646-0fbc-45f7-ad43-dedf81838ce9" providerId="ADAL" clId="{D3940540-5765-B142-9AE8-280342EA5B6A}" dt="2023-03-31T07:55:45.434" v="264" actId="2696"/>
        <pc:sldMkLst>
          <pc:docMk/>
          <pc:sldMk cId="3358116372" sldId="294"/>
        </pc:sldMkLst>
      </pc:sldChg>
      <pc:sldChg chg="add del">
        <pc:chgData name="Delibalta, Berk" userId="2336f646-0fbc-45f7-ad43-dedf81838ce9" providerId="ADAL" clId="{D3940540-5765-B142-9AE8-280342EA5B6A}" dt="2023-03-31T07:54:00.727" v="227" actId="2696"/>
        <pc:sldMkLst>
          <pc:docMk/>
          <pc:sldMk cId="3484516751" sldId="294"/>
        </pc:sldMkLst>
      </pc:sldChg>
      <pc:sldChg chg="addSp delSp modSp add mod">
        <pc:chgData name="Delibalta, Berk" userId="2336f646-0fbc-45f7-ad43-dedf81838ce9" providerId="ADAL" clId="{D3940540-5765-B142-9AE8-280342EA5B6A}" dt="2023-03-31T07:55:35.568" v="263" actId="1076"/>
        <pc:sldMkLst>
          <pc:docMk/>
          <pc:sldMk cId="1013069833" sldId="295"/>
        </pc:sldMkLst>
        <pc:spChg chg="add del mod">
          <ac:chgData name="Delibalta, Berk" userId="2336f646-0fbc-45f7-ad43-dedf81838ce9" providerId="ADAL" clId="{D3940540-5765-B142-9AE8-280342EA5B6A}" dt="2023-03-31T07:55:35.568" v="263" actId="1076"/>
          <ac:spMkLst>
            <pc:docMk/>
            <pc:sldMk cId="1013069833" sldId="295"/>
            <ac:spMk id="3" creationId="{00000000-0000-0000-0000-000000000000}"/>
          </ac:spMkLst>
        </pc:spChg>
        <pc:spChg chg="add del mod">
          <ac:chgData name="Delibalta, Berk" userId="2336f646-0fbc-45f7-ad43-dedf81838ce9" providerId="ADAL" clId="{D3940540-5765-B142-9AE8-280342EA5B6A}" dt="2023-03-31T07:55:28.753" v="261" actId="478"/>
          <ac:spMkLst>
            <pc:docMk/>
            <pc:sldMk cId="1013069833" sldId="295"/>
            <ac:spMk id="4" creationId="{3E05DF29-068A-949B-86A1-9B6A0F973BC5}"/>
          </ac:spMkLst>
        </pc:spChg>
        <pc:spChg chg="mod">
          <ac:chgData name="Delibalta, Berk" userId="2336f646-0fbc-45f7-ad43-dedf81838ce9" providerId="ADAL" clId="{D3940540-5765-B142-9AE8-280342EA5B6A}" dt="2023-03-31T07:54:45.279" v="234" actId="20577"/>
          <ac:spMkLst>
            <pc:docMk/>
            <pc:sldMk cId="1013069833" sldId="295"/>
            <ac:spMk id="5" creationId="{00000000-0000-0000-0000-000000000000}"/>
          </ac:spMkLst>
        </pc:spChg>
        <pc:spChg chg="del mod">
          <ac:chgData name="Delibalta, Berk" userId="2336f646-0fbc-45f7-ad43-dedf81838ce9" providerId="ADAL" clId="{D3940540-5765-B142-9AE8-280342EA5B6A}" dt="2023-03-31T07:54:39.355" v="232" actId="478"/>
          <ac:spMkLst>
            <pc:docMk/>
            <pc:sldMk cId="1013069833" sldId="295"/>
            <ac:spMk id="7" creationId="{6A04C83D-B889-46D7-938B-772263035C06}"/>
          </ac:spMkLst>
        </pc:spChg>
      </pc:sldChg>
      <pc:sldMasterChg chg="addSldLayout delSldLayout">
        <pc:chgData name="Delibalta, Berk" userId="2336f646-0fbc-45f7-ad43-dedf81838ce9" providerId="ADAL" clId="{D3940540-5765-B142-9AE8-280342EA5B6A}" dt="2023-03-31T07:55:45.434" v="264" actId="2696"/>
        <pc:sldMasterMkLst>
          <pc:docMk/>
          <pc:sldMasterMk cId="288433159" sldId="2147483660"/>
        </pc:sldMasterMkLst>
        <pc:sldLayoutChg chg="add del">
          <pc:chgData name="Delibalta, Berk" userId="2336f646-0fbc-45f7-ad43-dedf81838ce9" providerId="ADAL" clId="{D3940540-5765-B142-9AE8-280342EA5B6A}" dt="2023-03-31T07:54:00.727" v="227" actId="2696"/>
          <pc:sldLayoutMkLst>
            <pc:docMk/>
            <pc:sldMasterMk cId="288433159" sldId="2147483660"/>
            <pc:sldLayoutMk cId="1845728966" sldId="2147483696"/>
          </pc:sldLayoutMkLst>
        </pc:sldLayoutChg>
        <pc:sldLayoutChg chg="add del">
          <pc:chgData name="Delibalta, Berk" userId="2336f646-0fbc-45f7-ad43-dedf81838ce9" providerId="ADAL" clId="{D3940540-5765-B142-9AE8-280342EA5B6A}" dt="2023-03-31T07:55:45.434" v="264" actId="2696"/>
          <pc:sldLayoutMkLst>
            <pc:docMk/>
            <pc:sldMasterMk cId="288433159" sldId="2147483660"/>
            <pc:sldLayoutMk cId="1998790485" sldId="2147483696"/>
          </pc:sldLayoutMkLst>
        </pc:sldLayoutChg>
        <pc:sldLayoutChg chg="add">
          <pc:chgData name="Delibalta, Berk" userId="2336f646-0fbc-45f7-ad43-dedf81838ce9" providerId="ADAL" clId="{D3940540-5765-B142-9AE8-280342EA5B6A}" dt="2023-03-31T07:54:18.191" v="230"/>
          <pc:sldLayoutMkLst>
            <pc:docMk/>
            <pc:sldMasterMk cId="288433159" sldId="2147483660"/>
            <pc:sldLayoutMk cId="2683937437" sldId="2147483697"/>
          </pc:sldLayoutMkLst>
        </pc:sldLayoutChg>
      </pc:sldMasterChg>
    </pc:docChg>
  </pc:docChgLst>
  <pc:docChgLst>
    <pc:chgData name="Delibalta, Berk" userId="2336f646-0fbc-45f7-ad43-dedf81838ce9" providerId="ADAL" clId="{2C16A4BD-87AF-4A76-831D-55697F645A3C}"/>
    <pc:docChg chg="undo custSel addSld delSld modSld sldOrd">
      <pc:chgData name="Delibalta, Berk" userId="2336f646-0fbc-45f7-ad43-dedf81838ce9" providerId="ADAL" clId="{2C16A4BD-87AF-4A76-831D-55697F645A3C}" dt="2023-02-27T13:25:20.538" v="3417" actId="1076"/>
      <pc:docMkLst>
        <pc:docMk/>
      </pc:docMkLst>
      <pc:sldChg chg="modSp mod">
        <pc:chgData name="Delibalta, Berk" userId="2336f646-0fbc-45f7-ad43-dedf81838ce9" providerId="ADAL" clId="{2C16A4BD-87AF-4A76-831D-55697F645A3C}" dt="2023-02-17T10:08:49.318" v="27" actId="20577"/>
        <pc:sldMkLst>
          <pc:docMk/>
          <pc:sldMk cId="1613597857" sldId="257"/>
        </pc:sldMkLst>
        <pc:spChg chg="mod">
          <ac:chgData name="Delibalta, Berk" userId="2336f646-0fbc-45f7-ad43-dedf81838ce9" providerId="ADAL" clId="{2C16A4BD-87AF-4A76-831D-55697F645A3C}" dt="2023-02-17T10:08:49.318" v="27" actId="20577"/>
          <ac:spMkLst>
            <pc:docMk/>
            <pc:sldMk cId="1613597857" sldId="257"/>
            <ac:spMk id="3" creationId="{75CE4EC3-A2E4-42D8-AE81-931608669C41}"/>
          </ac:spMkLst>
        </pc:spChg>
      </pc:sldChg>
      <pc:sldChg chg="ord">
        <pc:chgData name="Delibalta, Berk" userId="2336f646-0fbc-45f7-ad43-dedf81838ce9" providerId="ADAL" clId="{2C16A4BD-87AF-4A76-831D-55697F645A3C}" dt="2023-02-27T09:57:00.418" v="1887"/>
        <pc:sldMkLst>
          <pc:docMk/>
          <pc:sldMk cId="2239265673" sldId="264"/>
        </pc:sldMkLst>
      </pc:sldChg>
      <pc:sldChg chg="ord">
        <pc:chgData name="Delibalta, Berk" userId="2336f646-0fbc-45f7-ad43-dedf81838ce9" providerId="ADAL" clId="{2C16A4BD-87AF-4A76-831D-55697F645A3C}" dt="2023-02-27T09:58:43.911" v="1889"/>
        <pc:sldMkLst>
          <pc:docMk/>
          <pc:sldMk cId="1120401697" sldId="271"/>
        </pc:sldMkLst>
      </pc:sldChg>
      <pc:sldChg chg="ord">
        <pc:chgData name="Delibalta, Berk" userId="2336f646-0fbc-45f7-ad43-dedf81838ce9" providerId="ADAL" clId="{2C16A4BD-87AF-4A76-831D-55697F645A3C}" dt="2023-02-27T09:59:14.142" v="1893"/>
        <pc:sldMkLst>
          <pc:docMk/>
          <pc:sldMk cId="2951192141" sldId="274"/>
        </pc:sldMkLst>
      </pc:sldChg>
      <pc:sldChg chg="add del">
        <pc:chgData name="Delibalta, Berk" userId="2336f646-0fbc-45f7-ad43-dedf81838ce9" providerId="ADAL" clId="{2C16A4BD-87AF-4A76-831D-55697F645A3C}" dt="2023-02-17T13:23:46.925" v="421" actId="2696"/>
        <pc:sldMkLst>
          <pc:docMk/>
          <pc:sldMk cId="840793545" sldId="275"/>
        </pc:sldMkLst>
      </pc:sldChg>
      <pc:sldChg chg="addSp delSp modSp new mod">
        <pc:chgData name="Delibalta, Berk" userId="2336f646-0fbc-45f7-ad43-dedf81838ce9" providerId="ADAL" clId="{2C16A4BD-87AF-4A76-831D-55697F645A3C}" dt="2023-02-17T13:21:27.630" v="347" actId="1076"/>
        <pc:sldMkLst>
          <pc:docMk/>
          <pc:sldMk cId="1340512310" sldId="276"/>
        </pc:sldMkLst>
        <pc:spChg chg="add mod">
          <ac:chgData name="Delibalta, Berk" userId="2336f646-0fbc-45f7-ad43-dedf81838ce9" providerId="ADAL" clId="{2C16A4BD-87AF-4A76-831D-55697F645A3C}" dt="2023-02-17T12:58:16.423" v="33"/>
          <ac:spMkLst>
            <pc:docMk/>
            <pc:sldMk cId="1340512310" sldId="276"/>
            <ac:spMk id="3" creationId="{0327B7BE-C76D-4232-80C8-7C00D9365EB3}"/>
          </ac:spMkLst>
        </pc:spChg>
        <pc:spChg chg="add mod">
          <ac:chgData name="Delibalta, Berk" userId="2336f646-0fbc-45f7-ad43-dedf81838ce9" providerId="ADAL" clId="{2C16A4BD-87AF-4A76-831D-55697F645A3C}" dt="2023-02-17T12:58:25.123" v="34"/>
          <ac:spMkLst>
            <pc:docMk/>
            <pc:sldMk cId="1340512310" sldId="276"/>
            <ac:spMk id="4" creationId="{530AAA38-A764-4BB8-976D-787B7721CEA6}"/>
          </ac:spMkLst>
        </pc:spChg>
        <pc:spChg chg="add mod">
          <ac:chgData name="Delibalta, Berk" userId="2336f646-0fbc-45f7-ad43-dedf81838ce9" providerId="ADAL" clId="{2C16A4BD-87AF-4A76-831D-55697F645A3C}" dt="2023-02-17T13:02:18.567" v="43" actId="1076"/>
          <ac:spMkLst>
            <pc:docMk/>
            <pc:sldMk cId="1340512310" sldId="276"/>
            <ac:spMk id="8" creationId="{A2123F5B-82F0-46F8-9E2D-09A381EE1204}"/>
          </ac:spMkLst>
        </pc:spChg>
        <pc:spChg chg="mod">
          <ac:chgData name="Delibalta, Berk" userId="2336f646-0fbc-45f7-ad43-dedf81838ce9" providerId="ADAL" clId="{2C16A4BD-87AF-4A76-831D-55697F645A3C}" dt="2023-02-17T13:03:12.943" v="44"/>
          <ac:spMkLst>
            <pc:docMk/>
            <pc:sldMk cId="1340512310" sldId="276"/>
            <ac:spMk id="10" creationId="{3ED031CA-F796-425D-A559-01689FAFC22E}"/>
          </ac:spMkLst>
        </pc:spChg>
        <pc:spChg chg="mod">
          <ac:chgData name="Delibalta, Berk" userId="2336f646-0fbc-45f7-ad43-dedf81838ce9" providerId="ADAL" clId="{2C16A4BD-87AF-4A76-831D-55697F645A3C}" dt="2023-02-17T13:03:12.943" v="44"/>
          <ac:spMkLst>
            <pc:docMk/>
            <pc:sldMk cId="1340512310" sldId="276"/>
            <ac:spMk id="11" creationId="{9E685B6C-C7CF-4982-A11D-59E47CC57F82}"/>
          </ac:spMkLst>
        </pc:spChg>
        <pc:spChg chg="mod">
          <ac:chgData name="Delibalta, Berk" userId="2336f646-0fbc-45f7-ad43-dedf81838ce9" providerId="ADAL" clId="{2C16A4BD-87AF-4A76-831D-55697F645A3C}" dt="2023-02-17T13:03:31.369" v="47"/>
          <ac:spMkLst>
            <pc:docMk/>
            <pc:sldMk cId="1340512310" sldId="276"/>
            <ac:spMk id="13" creationId="{2AC39DF3-BDA9-4A05-A1AC-344BA2B716F5}"/>
          </ac:spMkLst>
        </pc:spChg>
        <pc:spChg chg="mod">
          <ac:chgData name="Delibalta, Berk" userId="2336f646-0fbc-45f7-ad43-dedf81838ce9" providerId="ADAL" clId="{2C16A4BD-87AF-4A76-831D-55697F645A3C}" dt="2023-02-17T13:03:31.369" v="47"/>
          <ac:spMkLst>
            <pc:docMk/>
            <pc:sldMk cId="1340512310" sldId="276"/>
            <ac:spMk id="14" creationId="{2BBEBFD8-0830-4BB6-82AB-799F7B70B7F1}"/>
          </ac:spMkLst>
        </pc:spChg>
        <pc:spChg chg="mod">
          <ac:chgData name="Delibalta, Berk" userId="2336f646-0fbc-45f7-ad43-dedf81838ce9" providerId="ADAL" clId="{2C16A4BD-87AF-4A76-831D-55697F645A3C}" dt="2023-02-17T13:04:56.785" v="56"/>
          <ac:spMkLst>
            <pc:docMk/>
            <pc:sldMk cId="1340512310" sldId="276"/>
            <ac:spMk id="16" creationId="{1BEEBEF4-6E59-4531-A0A2-41FA3B5D81EE}"/>
          </ac:spMkLst>
        </pc:spChg>
        <pc:spChg chg="mod">
          <ac:chgData name="Delibalta, Berk" userId="2336f646-0fbc-45f7-ad43-dedf81838ce9" providerId="ADAL" clId="{2C16A4BD-87AF-4A76-831D-55697F645A3C}" dt="2023-02-17T13:04:56.785" v="56"/>
          <ac:spMkLst>
            <pc:docMk/>
            <pc:sldMk cId="1340512310" sldId="276"/>
            <ac:spMk id="17" creationId="{48DFFC3D-0523-4F22-9904-D2CF9593ED17}"/>
          </ac:spMkLst>
        </pc:spChg>
        <pc:spChg chg="add mod">
          <ac:chgData name="Delibalta, Berk" userId="2336f646-0fbc-45f7-ad43-dedf81838ce9" providerId="ADAL" clId="{2C16A4BD-87AF-4A76-831D-55697F645A3C}" dt="2023-02-17T13:06:07.283" v="64" actId="1076"/>
          <ac:spMkLst>
            <pc:docMk/>
            <pc:sldMk cId="1340512310" sldId="276"/>
            <ac:spMk id="18" creationId="{34CC8428-2978-4EEA-90A8-9AF1F3D848F3}"/>
          </ac:spMkLst>
        </pc:spChg>
        <pc:spChg chg="add mod">
          <ac:chgData name="Delibalta, Berk" userId="2336f646-0fbc-45f7-ad43-dedf81838ce9" providerId="ADAL" clId="{2C16A4BD-87AF-4A76-831D-55697F645A3C}" dt="2023-02-17T13:08:20.444" v="197" actId="1076"/>
          <ac:spMkLst>
            <pc:docMk/>
            <pc:sldMk cId="1340512310" sldId="276"/>
            <ac:spMk id="19" creationId="{FBDFED88-83A9-490D-923D-6C77C7211B23}"/>
          </ac:spMkLst>
        </pc:spChg>
        <pc:spChg chg="add mod">
          <ac:chgData name="Delibalta, Berk" userId="2336f646-0fbc-45f7-ad43-dedf81838ce9" providerId="ADAL" clId="{2C16A4BD-87AF-4A76-831D-55697F645A3C}" dt="2023-02-17T13:07:14.505" v="108" actId="1076"/>
          <ac:spMkLst>
            <pc:docMk/>
            <pc:sldMk cId="1340512310" sldId="276"/>
            <ac:spMk id="20" creationId="{9B8CED67-AA72-40C7-B566-6C81D0086BD8}"/>
          </ac:spMkLst>
        </pc:spChg>
        <pc:spChg chg="add mod">
          <ac:chgData name="Delibalta, Berk" userId="2336f646-0fbc-45f7-ad43-dedf81838ce9" providerId="ADAL" clId="{2C16A4BD-87AF-4A76-831D-55697F645A3C}" dt="2023-02-17T13:08:32.500" v="200" actId="1076"/>
          <ac:spMkLst>
            <pc:docMk/>
            <pc:sldMk cId="1340512310" sldId="276"/>
            <ac:spMk id="21" creationId="{8ACA1DBF-7F3C-4D4A-956C-5CC5AB3847F9}"/>
          </ac:spMkLst>
        </pc:spChg>
        <pc:spChg chg="add mod">
          <ac:chgData name="Delibalta, Berk" userId="2336f646-0fbc-45f7-ad43-dedf81838ce9" providerId="ADAL" clId="{2C16A4BD-87AF-4A76-831D-55697F645A3C}" dt="2023-02-17T13:15:48.413" v="299" actId="1076"/>
          <ac:spMkLst>
            <pc:docMk/>
            <pc:sldMk cId="1340512310" sldId="276"/>
            <ac:spMk id="22" creationId="{E5BD6054-5B17-4B72-B83A-4F85416E8110}"/>
          </ac:spMkLst>
        </pc:spChg>
        <pc:spChg chg="mod">
          <ac:chgData name="Delibalta, Berk" userId="2336f646-0fbc-45f7-ad43-dedf81838ce9" providerId="ADAL" clId="{2C16A4BD-87AF-4A76-831D-55697F645A3C}" dt="2023-02-17T13:10:43.656" v="201"/>
          <ac:spMkLst>
            <pc:docMk/>
            <pc:sldMk cId="1340512310" sldId="276"/>
            <ac:spMk id="24" creationId="{A0C16AA8-C828-4C2B-8F18-0E793D9D2C0A}"/>
          </ac:spMkLst>
        </pc:spChg>
        <pc:spChg chg="mod">
          <ac:chgData name="Delibalta, Berk" userId="2336f646-0fbc-45f7-ad43-dedf81838ce9" providerId="ADAL" clId="{2C16A4BD-87AF-4A76-831D-55697F645A3C}" dt="2023-02-17T13:10:43.656" v="201"/>
          <ac:spMkLst>
            <pc:docMk/>
            <pc:sldMk cId="1340512310" sldId="276"/>
            <ac:spMk id="25" creationId="{602542ED-1FEC-4203-BEF8-6BAE54799036}"/>
          </ac:spMkLst>
        </pc:spChg>
        <pc:spChg chg="add mod">
          <ac:chgData name="Delibalta, Berk" userId="2336f646-0fbc-45f7-ad43-dedf81838ce9" providerId="ADAL" clId="{2C16A4BD-87AF-4A76-831D-55697F645A3C}" dt="2023-02-17T13:13:47.571" v="266" actId="20577"/>
          <ac:spMkLst>
            <pc:docMk/>
            <pc:sldMk cId="1340512310" sldId="276"/>
            <ac:spMk id="29" creationId="{49BAEFBE-0E5F-4EA4-9D22-8057660E4000}"/>
          </ac:spMkLst>
        </pc:spChg>
        <pc:spChg chg="add mod">
          <ac:chgData name="Delibalta, Berk" userId="2336f646-0fbc-45f7-ad43-dedf81838ce9" providerId="ADAL" clId="{2C16A4BD-87AF-4A76-831D-55697F645A3C}" dt="2023-02-17T13:16:11.027" v="301" actId="1076"/>
          <ac:spMkLst>
            <pc:docMk/>
            <pc:sldMk cId="1340512310" sldId="276"/>
            <ac:spMk id="30" creationId="{64884A72-3169-48FB-B34D-399F79D5F659}"/>
          </ac:spMkLst>
        </pc:spChg>
        <pc:grpChg chg="add del mod">
          <ac:chgData name="Delibalta, Berk" userId="2336f646-0fbc-45f7-ad43-dedf81838ce9" providerId="ADAL" clId="{2C16A4BD-87AF-4A76-831D-55697F645A3C}" dt="2023-02-17T13:03:28.891" v="46"/>
          <ac:grpSpMkLst>
            <pc:docMk/>
            <pc:sldMk cId="1340512310" sldId="276"/>
            <ac:grpSpMk id="9" creationId="{DA8224BC-7CF8-4B68-850E-8F248AD4E607}"/>
          </ac:grpSpMkLst>
        </pc:grpChg>
        <pc:grpChg chg="add del mod">
          <ac:chgData name="Delibalta, Berk" userId="2336f646-0fbc-45f7-ad43-dedf81838ce9" providerId="ADAL" clId="{2C16A4BD-87AF-4A76-831D-55697F645A3C}" dt="2023-02-17T13:04:26.196" v="55"/>
          <ac:grpSpMkLst>
            <pc:docMk/>
            <pc:sldMk cId="1340512310" sldId="276"/>
            <ac:grpSpMk id="12" creationId="{1474E027-0C88-4A21-9792-EAABCED920BE}"/>
          </ac:grpSpMkLst>
        </pc:grpChg>
        <pc:grpChg chg="add mod">
          <ac:chgData name="Delibalta, Berk" userId="2336f646-0fbc-45f7-ad43-dedf81838ce9" providerId="ADAL" clId="{2C16A4BD-87AF-4A76-831D-55697F645A3C}" dt="2023-02-17T13:08:17.588" v="196" actId="1076"/>
          <ac:grpSpMkLst>
            <pc:docMk/>
            <pc:sldMk cId="1340512310" sldId="276"/>
            <ac:grpSpMk id="15" creationId="{EFFB8116-8092-487E-A7A9-B79741A47630}"/>
          </ac:grpSpMkLst>
        </pc:grpChg>
        <pc:grpChg chg="add mod">
          <ac:chgData name="Delibalta, Berk" userId="2336f646-0fbc-45f7-ad43-dedf81838ce9" providerId="ADAL" clId="{2C16A4BD-87AF-4A76-831D-55697F645A3C}" dt="2023-02-17T13:21:27.630" v="347" actId="1076"/>
          <ac:grpSpMkLst>
            <pc:docMk/>
            <pc:sldMk cId="1340512310" sldId="276"/>
            <ac:grpSpMk id="23" creationId="{3EF79032-7560-4E2E-8611-4540880BE1B5}"/>
          </ac:grpSpMkLst>
        </pc:grpChg>
        <pc:graphicFrameChg chg="add mod">
          <ac:chgData name="Delibalta, Berk" userId="2336f646-0fbc-45f7-ad43-dedf81838ce9" providerId="ADAL" clId="{2C16A4BD-87AF-4A76-831D-55697F645A3C}" dt="2023-02-17T13:04:22.967" v="54"/>
          <ac:graphicFrameMkLst>
            <pc:docMk/>
            <pc:sldMk cId="1340512310" sldId="276"/>
            <ac:graphicFrameMk id="2" creationId="{ED8155A2-6D3F-4376-8DF6-F125FE881DED}"/>
          </ac:graphicFrameMkLst>
        </pc:graphicFrameChg>
        <pc:picChg chg="add mod">
          <ac:chgData name="Delibalta, Berk" userId="2336f646-0fbc-45f7-ad43-dedf81838ce9" providerId="ADAL" clId="{2C16A4BD-87AF-4A76-831D-55697F645A3C}" dt="2023-02-17T13:06:41.496" v="68" actId="1076"/>
          <ac:picMkLst>
            <pc:docMk/>
            <pc:sldMk cId="1340512310" sldId="276"/>
            <ac:picMk id="6" creationId="{E7D76406-2751-4E84-A873-ED6CDFA591DD}"/>
          </ac:picMkLst>
        </pc:picChg>
        <pc:picChg chg="add mod">
          <ac:chgData name="Delibalta, Berk" userId="2336f646-0fbc-45f7-ad43-dedf81838ce9" providerId="ADAL" clId="{2C16A4BD-87AF-4A76-831D-55697F645A3C}" dt="2023-02-17T13:01:56.588" v="41" actId="1076"/>
          <ac:picMkLst>
            <pc:docMk/>
            <pc:sldMk cId="1340512310" sldId="276"/>
            <ac:picMk id="7" creationId="{164D304F-FA29-4018-82BB-18A82AFB7E51}"/>
          </ac:picMkLst>
        </pc:picChg>
        <pc:cxnChg chg="add mod">
          <ac:chgData name="Delibalta, Berk" userId="2336f646-0fbc-45f7-ad43-dedf81838ce9" providerId="ADAL" clId="{2C16A4BD-87AF-4A76-831D-55697F645A3C}" dt="2023-02-17T13:13:14.360" v="214" actId="1076"/>
          <ac:cxnSpMkLst>
            <pc:docMk/>
            <pc:sldMk cId="1340512310" sldId="276"/>
            <ac:cxnSpMk id="26" creationId="{BBB41BA9-54C9-4FC4-898D-AD3690805ABB}"/>
          </ac:cxnSpMkLst>
        </pc:cxnChg>
      </pc:sldChg>
      <pc:sldChg chg="add del">
        <pc:chgData name="Delibalta, Berk" userId="2336f646-0fbc-45f7-ad43-dedf81838ce9" providerId="ADAL" clId="{2C16A4BD-87AF-4A76-831D-55697F645A3C}" dt="2023-02-17T13:12:25.131" v="208" actId="2696"/>
        <pc:sldMkLst>
          <pc:docMk/>
          <pc:sldMk cId="1153570499" sldId="277"/>
        </pc:sldMkLst>
      </pc:sldChg>
      <pc:sldChg chg="addSp delSp modSp add mod">
        <pc:chgData name="Delibalta, Berk" userId="2336f646-0fbc-45f7-ad43-dedf81838ce9" providerId="ADAL" clId="{2C16A4BD-87AF-4A76-831D-55697F645A3C}" dt="2023-02-17T13:23:30.788" v="420" actId="14100"/>
        <pc:sldMkLst>
          <pc:docMk/>
          <pc:sldMk cId="1783596213" sldId="277"/>
        </pc:sldMkLst>
        <pc:spChg chg="del">
          <ac:chgData name="Delibalta, Berk" userId="2336f646-0fbc-45f7-ad43-dedf81838ce9" providerId="ADAL" clId="{2C16A4BD-87AF-4A76-831D-55697F645A3C}" dt="2023-02-17T13:17:18.711" v="313" actId="478"/>
          <ac:spMkLst>
            <pc:docMk/>
            <pc:sldMk cId="1783596213" sldId="277"/>
            <ac:spMk id="5" creationId="{CA85306C-5E6D-400E-A872-96F0EFE96FEA}"/>
          </ac:spMkLst>
        </pc:spChg>
        <pc:spChg chg="del">
          <ac:chgData name="Delibalta, Berk" userId="2336f646-0fbc-45f7-ad43-dedf81838ce9" providerId="ADAL" clId="{2C16A4BD-87AF-4A76-831D-55697F645A3C}" dt="2023-02-17T13:17:15.750" v="312" actId="478"/>
          <ac:spMkLst>
            <pc:docMk/>
            <pc:sldMk cId="1783596213" sldId="277"/>
            <ac:spMk id="7" creationId="{A996347F-F866-4A83-9998-6FD1E487C4CF}"/>
          </ac:spMkLst>
        </pc:spChg>
        <pc:spChg chg="add mod">
          <ac:chgData name="Delibalta, Berk" userId="2336f646-0fbc-45f7-ad43-dedf81838ce9" providerId="ADAL" clId="{2C16A4BD-87AF-4A76-831D-55697F645A3C}" dt="2023-02-17T13:20:27.601" v="333" actId="1076"/>
          <ac:spMkLst>
            <pc:docMk/>
            <pc:sldMk cId="1783596213" sldId="277"/>
            <ac:spMk id="15" creationId="{5E7F4DC5-22B4-4FBB-A213-BA3AC4A0CB1B}"/>
          </ac:spMkLst>
        </pc:spChg>
        <pc:spChg chg="mod">
          <ac:chgData name="Delibalta, Berk" userId="2336f646-0fbc-45f7-ad43-dedf81838ce9" providerId="ADAL" clId="{2C16A4BD-87AF-4A76-831D-55697F645A3C}" dt="2023-02-17T13:20:46.338" v="334"/>
          <ac:spMkLst>
            <pc:docMk/>
            <pc:sldMk cId="1783596213" sldId="277"/>
            <ac:spMk id="17" creationId="{DB88FB37-3A19-4708-9A9F-37A84A9BBF27}"/>
          </ac:spMkLst>
        </pc:spChg>
        <pc:spChg chg="mod">
          <ac:chgData name="Delibalta, Berk" userId="2336f646-0fbc-45f7-ad43-dedf81838ce9" providerId="ADAL" clId="{2C16A4BD-87AF-4A76-831D-55697F645A3C}" dt="2023-02-17T13:20:46.338" v="334"/>
          <ac:spMkLst>
            <pc:docMk/>
            <pc:sldMk cId="1783596213" sldId="277"/>
            <ac:spMk id="18" creationId="{2BF4BD7D-E7A3-421B-B894-5218C4CBB168}"/>
          </ac:spMkLst>
        </pc:spChg>
        <pc:spChg chg="add del mod">
          <ac:chgData name="Delibalta, Berk" userId="2336f646-0fbc-45f7-ad43-dedf81838ce9" providerId="ADAL" clId="{2C16A4BD-87AF-4A76-831D-55697F645A3C}" dt="2023-02-17T13:20:50.966" v="337"/>
          <ac:spMkLst>
            <pc:docMk/>
            <pc:sldMk cId="1783596213" sldId="277"/>
            <ac:spMk id="19" creationId="{83BD6BB8-915B-45CA-BA54-D9C0EAD07D56}"/>
          </ac:spMkLst>
        </pc:spChg>
        <pc:spChg chg="add del mod">
          <ac:chgData name="Delibalta, Berk" userId="2336f646-0fbc-45f7-ad43-dedf81838ce9" providerId="ADAL" clId="{2C16A4BD-87AF-4A76-831D-55697F645A3C}" dt="2023-02-17T13:20:50.966" v="337"/>
          <ac:spMkLst>
            <pc:docMk/>
            <pc:sldMk cId="1783596213" sldId="277"/>
            <ac:spMk id="20" creationId="{144C806D-9431-42F1-BDEB-4E638EE2512D}"/>
          </ac:spMkLst>
        </pc:spChg>
        <pc:spChg chg="add del mod">
          <ac:chgData name="Delibalta, Berk" userId="2336f646-0fbc-45f7-ad43-dedf81838ce9" providerId="ADAL" clId="{2C16A4BD-87AF-4A76-831D-55697F645A3C}" dt="2023-02-17T13:20:50.966" v="337"/>
          <ac:spMkLst>
            <pc:docMk/>
            <pc:sldMk cId="1783596213" sldId="277"/>
            <ac:spMk id="21" creationId="{3D078B21-2EAE-4775-A01A-DA89B7B893AB}"/>
          </ac:spMkLst>
        </pc:spChg>
        <pc:spChg chg="add del mod">
          <ac:chgData name="Delibalta, Berk" userId="2336f646-0fbc-45f7-ad43-dedf81838ce9" providerId="ADAL" clId="{2C16A4BD-87AF-4A76-831D-55697F645A3C}" dt="2023-02-17T13:20:50.966" v="337"/>
          <ac:spMkLst>
            <pc:docMk/>
            <pc:sldMk cId="1783596213" sldId="277"/>
            <ac:spMk id="22" creationId="{B9656D87-4CC0-44E3-9B3B-1A716254865B}"/>
          </ac:spMkLst>
        </pc:spChg>
        <pc:spChg chg="add del mod">
          <ac:chgData name="Delibalta, Berk" userId="2336f646-0fbc-45f7-ad43-dedf81838ce9" providerId="ADAL" clId="{2C16A4BD-87AF-4A76-831D-55697F645A3C}" dt="2023-02-17T13:20:50.966" v="337"/>
          <ac:spMkLst>
            <pc:docMk/>
            <pc:sldMk cId="1783596213" sldId="277"/>
            <ac:spMk id="23" creationId="{B3D68DF7-1DA5-4BE4-98B2-B46E1803E23F}"/>
          </ac:spMkLst>
        </pc:spChg>
        <pc:spChg chg="mod">
          <ac:chgData name="Delibalta, Berk" userId="2336f646-0fbc-45f7-ad43-dedf81838ce9" providerId="ADAL" clId="{2C16A4BD-87AF-4A76-831D-55697F645A3C}" dt="2023-02-17T13:20:54.402" v="338"/>
          <ac:spMkLst>
            <pc:docMk/>
            <pc:sldMk cId="1783596213" sldId="277"/>
            <ac:spMk id="25" creationId="{10D85332-CBCF-473A-ADC3-C14E468E6855}"/>
          </ac:spMkLst>
        </pc:spChg>
        <pc:spChg chg="mod">
          <ac:chgData name="Delibalta, Berk" userId="2336f646-0fbc-45f7-ad43-dedf81838ce9" providerId="ADAL" clId="{2C16A4BD-87AF-4A76-831D-55697F645A3C}" dt="2023-02-17T13:20:54.402" v="338"/>
          <ac:spMkLst>
            <pc:docMk/>
            <pc:sldMk cId="1783596213" sldId="277"/>
            <ac:spMk id="26" creationId="{34F8EA20-DD83-4045-A2E9-988F5D728164}"/>
          </ac:spMkLst>
        </pc:spChg>
        <pc:spChg chg="add del mod">
          <ac:chgData name="Delibalta, Berk" userId="2336f646-0fbc-45f7-ad43-dedf81838ce9" providerId="ADAL" clId="{2C16A4BD-87AF-4A76-831D-55697F645A3C}" dt="2023-02-17T13:21:00.661" v="341"/>
          <ac:spMkLst>
            <pc:docMk/>
            <pc:sldMk cId="1783596213" sldId="277"/>
            <ac:spMk id="27" creationId="{E7D4CCFB-5274-4392-9260-31F096BACFD6}"/>
          </ac:spMkLst>
        </pc:spChg>
        <pc:spChg chg="add del mod">
          <ac:chgData name="Delibalta, Berk" userId="2336f646-0fbc-45f7-ad43-dedf81838ce9" providerId="ADAL" clId="{2C16A4BD-87AF-4A76-831D-55697F645A3C}" dt="2023-02-17T13:21:00.661" v="341"/>
          <ac:spMkLst>
            <pc:docMk/>
            <pc:sldMk cId="1783596213" sldId="277"/>
            <ac:spMk id="28" creationId="{BD678B72-8203-4B8F-B228-A88C7E99AA5D}"/>
          </ac:spMkLst>
        </pc:spChg>
        <pc:spChg chg="add del mod">
          <ac:chgData name="Delibalta, Berk" userId="2336f646-0fbc-45f7-ad43-dedf81838ce9" providerId="ADAL" clId="{2C16A4BD-87AF-4A76-831D-55697F645A3C}" dt="2023-02-17T13:21:00.661" v="341"/>
          <ac:spMkLst>
            <pc:docMk/>
            <pc:sldMk cId="1783596213" sldId="277"/>
            <ac:spMk id="29" creationId="{0A765DD7-1992-42B0-8290-0C299763DB3E}"/>
          </ac:spMkLst>
        </pc:spChg>
        <pc:spChg chg="add del mod">
          <ac:chgData name="Delibalta, Berk" userId="2336f646-0fbc-45f7-ad43-dedf81838ce9" providerId="ADAL" clId="{2C16A4BD-87AF-4A76-831D-55697F645A3C}" dt="2023-02-17T13:21:00.661" v="341"/>
          <ac:spMkLst>
            <pc:docMk/>
            <pc:sldMk cId="1783596213" sldId="277"/>
            <ac:spMk id="30" creationId="{42152805-0183-4AB4-9FF7-8FF85195309F}"/>
          </ac:spMkLst>
        </pc:spChg>
        <pc:spChg chg="add del mod">
          <ac:chgData name="Delibalta, Berk" userId="2336f646-0fbc-45f7-ad43-dedf81838ce9" providerId="ADAL" clId="{2C16A4BD-87AF-4A76-831D-55697F645A3C}" dt="2023-02-17T13:21:00.661" v="341"/>
          <ac:spMkLst>
            <pc:docMk/>
            <pc:sldMk cId="1783596213" sldId="277"/>
            <ac:spMk id="31" creationId="{DDA5D52F-CB48-4DD8-991F-C062957BBEB3}"/>
          </ac:spMkLst>
        </pc:spChg>
        <pc:spChg chg="mod">
          <ac:chgData name="Delibalta, Berk" userId="2336f646-0fbc-45f7-ad43-dedf81838ce9" providerId="ADAL" clId="{2C16A4BD-87AF-4A76-831D-55697F645A3C}" dt="2023-02-17T13:21:10.744" v="343" actId="1076"/>
          <ac:spMkLst>
            <pc:docMk/>
            <pc:sldMk cId="1783596213" sldId="277"/>
            <ac:spMk id="33" creationId="{03D55F66-523F-4485-8731-81D5422B5F99}"/>
          </ac:spMkLst>
        </pc:spChg>
        <pc:spChg chg="mod">
          <ac:chgData name="Delibalta, Berk" userId="2336f646-0fbc-45f7-ad43-dedf81838ce9" providerId="ADAL" clId="{2C16A4BD-87AF-4A76-831D-55697F645A3C}" dt="2023-02-17T13:21:10.744" v="343" actId="1076"/>
          <ac:spMkLst>
            <pc:docMk/>
            <pc:sldMk cId="1783596213" sldId="277"/>
            <ac:spMk id="34" creationId="{32342B10-BE96-485E-8405-620BEDB9CD18}"/>
          </ac:spMkLst>
        </pc:spChg>
        <pc:spChg chg="add mod">
          <ac:chgData name="Delibalta, Berk" userId="2336f646-0fbc-45f7-ad43-dedf81838ce9" providerId="ADAL" clId="{2C16A4BD-87AF-4A76-831D-55697F645A3C}" dt="2023-02-17T13:21:10.744" v="343" actId="1076"/>
          <ac:spMkLst>
            <pc:docMk/>
            <pc:sldMk cId="1783596213" sldId="277"/>
            <ac:spMk id="35" creationId="{66D3DB73-9830-4923-A7A1-102623268773}"/>
          </ac:spMkLst>
        </pc:spChg>
        <pc:spChg chg="add mod">
          <ac:chgData name="Delibalta, Berk" userId="2336f646-0fbc-45f7-ad43-dedf81838ce9" providerId="ADAL" clId="{2C16A4BD-87AF-4A76-831D-55697F645A3C}" dt="2023-02-17T13:21:10.744" v="343" actId="1076"/>
          <ac:spMkLst>
            <pc:docMk/>
            <pc:sldMk cId="1783596213" sldId="277"/>
            <ac:spMk id="36" creationId="{E65808F5-030F-4B90-8214-93B8339C26DC}"/>
          </ac:spMkLst>
        </pc:spChg>
        <pc:spChg chg="add mod">
          <ac:chgData name="Delibalta, Berk" userId="2336f646-0fbc-45f7-ad43-dedf81838ce9" providerId="ADAL" clId="{2C16A4BD-87AF-4A76-831D-55697F645A3C}" dt="2023-02-17T13:21:10.744" v="343" actId="1076"/>
          <ac:spMkLst>
            <pc:docMk/>
            <pc:sldMk cId="1783596213" sldId="277"/>
            <ac:spMk id="37" creationId="{280B6716-E3A5-48CA-A967-D55B173801A0}"/>
          </ac:spMkLst>
        </pc:spChg>
        <pc:spChg chg="add mod">
          <ac:chgData name="Delibalta, Berk" userId="2336f646-0fbc-45f7-ad43-dedf81838ce9" providerId="ADAL" clId="{2C16A4BD-87AF-4A76-831D-55697F645A3C}" dt="2023-02-17T13:21:10.744" v="343" actId="1076"/>
          <ac:spMkLst>
            <pc:docMk/>
            <pc:sldMk cId="1783596213" sldId="277"/>
            <ac:spMk id="38" creationId="{36D17D15-F7CD-461A-8026-002BF74B4F92}"/>
          </ac:spMkLst>
        </pc:spChg>
        <pc:spChg chg="add mod">
          <ac:chgData name="Delibalta, Berk" userId="2336f646-0fbc-45f7-ad43-dedf81838ce9" providerId="ADAL" clId="{2C16A4BD-87AF-4A76-831D-55697F645A3C}" dt="2023-02-17T13:21:10.744" v="343" actId="1076"/>
          <ac:spMkLst>
            <pc:docMk/>
            <pc:sldMk cId="1783596213" sldId="277"/>
            <ac:spMk id="39" creationId="{350968BE-6233-4EF5-A97E-0CCA3717BDC9}"/>
          </ac:spMkLst>
        </pc:spChg>
        <pc:spChg chg="add del mod">
          <ac:chgData name="Delibalta, Berk" userId="2336f646-0fbc-45f7-ad43-dedf81838ce9" providerId="ADAL" clId="{2C16A4BD-87AF-4A76-831D-55697F645A3C}" dt="2023-02-17T13:21:20.231" v="345"/>
          <ac:spMkLst>
            <pc:docMk/>
            <pc:sldMk cId="1783596213" sldId="277"/>
            <ac:spMk id="40" creationId="{D4119A4E-90C8-4302-8E00-4545393839AA}"/>
          </ac:spMkLst>
        </pc:spChg>
        <pc:spChg chg="mod">
          <ac:chgData name="Delibalta, Berk" userId="2336f646-0fbc-45f7-ad43-dedf81838ce9" providerId="ADAL" clId="{2C16A4BD-87AF-4A76-831D-55697F645A3C}" dt="2023-02-17T13:21:33.251" v="348"/>
          <ac:spMkLst>
            <pc:docMk/>
            <pc:sldMk cId="1783596213" sldId="277"/>
            <ac:spMk id="42" creationId="{BDCF00E1-1563-4F31-A262-E0C3473098D4}"/>
          </ac:spMkLst>
        </pc:spChg>
        <pc:spChg chg="mod">
          <ac:chgData name="Delibalta, Berk" userId="2336f646-0fbc-45f7-ad43-dedf81838ce9" providerId="ADAL" clId="{2C16A4BD-87AF-4A76-831D-55697F645A3C}" dt="2023-02-17T13:21:33.251" v="348"/>
          <ac:spMkLst>
            <pc:docMk/>
            <pc:sldMk cId="1783596213" sldId="277"/>
            <ac:spMk id="43" creationId="{E6C959DE-2AD4-4030-89A5-01718EF5D4D9}"/>
          </ac:spMkLst>
        </pc:spChg>
        <pc:spChg chg="add mod">
          <ac:chgData name="Delibalta, Berk" userId="2336f646-0fbc-45f7-ad43-dedf81838ce9" providerId="ADAL" clId="{2C16A4BD-87AF-4A76-831D-55697F645A3C}" dt="2023-02-17T13:22:04.940" v="351" actId="1076"/>
          <ac:spMkLst>
            <pc:docMk/>
            <pc:sldMk cId="1783596213" sldId="277"/>
            <ac:spMk id="44" creationId="{CED8E985-B88A-4615-A1CA-D45F7282E348}"/>
          </ac:spMkLst>
        </pc:spChg>
        <pc:spChg chg="add mod">
          <ac:chgData name="Delibalta, Berk" userId="2336f646-0fbc-45f7-ad43-dedf81838ce9" providerId="ADAL" clId="{2C16A4BD-87AF-4A76-831D-55697F645A3C}" dt="2023-02-17T13:23:03.158" v="418" actId="20577"/>
          <ac:spMkLst>
            <pc:docMk/>
            <pc:sldMk cId="1783596213" sldId="277"/>
            <ac:spMk id="45" creationId="{E56488A6-B727-44E0-A6B6-9FFEA6ED021C}"/>
          </ac:spMkLst>
        </pc:spChg>
        <pc:grpChg chg="add del mod">
          <ac:chgData name="Delibalta, Berk" userId="2336f646-0fbc-45f7-ad43-dedf81838ce9" providerId="ADAL" clId="{2C16A4BD-87AF-4A76-831D-55697F645A3C}" dt="2023-02-17T13:20:50.966" v="337"/>
          <ac:grpSpMkLst>
            <pc:docMk/>
            <pc:sldMk cId="1783596213" sldId="277"/>
            <ac:grpSpMk id="16" creationId="{7875BA06-47E1-456E-B830-920932FD1AE5}"/>
          </ac:grpSpMkLst>
        </pc:grpChg>
        <pc:grpChg chg="add del mod">
          <ac:chgData name="Delibalta, Berk" userId="2336f646-0fbc-45f7-ad43-dedf81838ce9" providerId="ADAL" clId="{2C16A4BD-87AF-4A76-831D-55697F645A3C}" dt="2023-02-17T13:21:00.661" v="341"/>
          <ac:grpSpMkLst>
            <pc:docMk/>
            <pc:sldMk cId="1783596213" sldId="277"/>
            <ac:grpSpMk id="24" creationId="{0576C010-71F4-4C18-A298-40DE246600E8}"/>
          </ac:grpSpMkLst>
        </pc:grpChg>
        <pc:grpChg chg="add mod">
          <ac:chgData name="Delibalta, Berk" userId="2336f646-0fbc-45f7-ad43-dedf81838ce9" providerId="ADAL" clId="{2C16A4BD-87AF-4A76-831D-55697F645A3C}" dt="2023-02-17T13:21:10.744" v="343" actId="1076"/>
          <ac:grpSpMkLst>
            <pc:docMk/>
            <pc:sldMk cId="1783596213" sldId="277"/>
            <ac:grpSpMk id="32" creationId="{70274AFD-847A-4A0A-A899-FF0529CD6CA1}"/>
          </ac:grpSpMkLst>
        </pc:grpChg>
        <pc:grpChg chg="add mod">
          <ac:chgData name="Delibalta, Berk" userId="2336f646-0fbc-45f7-ad43-dedf81838ce9" providerId="ADAL" clId="{2C16A4BD-87AF-4A76-831D-55697F645A3C}" dt="2023-02-17T13:21:37.581" v="349" actId="1076"/>
          <ac:grpSpMkLst>
            <pc:docMk/>
            <pc:sldMk cId="1783596213" sldId="277"/>
            <ac:grpSpMk id="41" creationId="{31064FD3-E590-4FF3-82DA-E4F04C2E91EF}"/>
          </ac:grpSpMkLst>
        </pc:grpChg>
        <pc:graphicFrameChg chg="mod">
          <ac:chgData name="Delibalta, Berk" userId="2336f646-0fbc-45f7-ad43-dedf81838ce9" providerId="ADAL" clId="{2C16A4BD-87AF-4A76-831D-55697F645A3C}" dt="2023-02-17T13:23:30.788" v="420" actId="14100"/>
          <ac:graphicFrameMkLst>
            <pc:docMk/>
            <pc:sldMk cId="1783596213" sldId="277"/>
            <ac:graphicFrameMk id="2" creationId="{2097C650-0F7A-4176-B182-2E84211284E4}"/>
          </ac:graphicFrameMkLst>
        </pc:graphicFrameChg>
        <pc:graphicFrameChg chg="del modGraphic">
          <ac:chgData name="Delibalta, Berk" userId="2336f646-0fbc-45f7-ad43-dedf81838ce9" providerId="ADAL" clId="{2C16A4BD-87AF-4A76-831D-55697F645A3C}" dt="2023-02-17T13:16:58.369" v="306" actId="478"/>
          <ac:graphicFrameMkLst>
            <pc:docMk/>
            <pc:sldMk cId="1783596213" sldId="277"/>
            <ac:graphicFrameMk id="6" creationId="{F4286ECA-97D6-45A4-80FE-090ECF950392}"/>
          </ac:graphicFrameMkLst>
        </pc:graphicFrameChg>
        <pc:graphicFrameChg chg="del modGraphic">
          <ac:chgData name="Delibalta, Berk" userId="2336f646-0fbc-45f7-ad43-dedf81838ce9" providerId="ADAL" clId="{2C16A4BD-87AF-4A76-831D-55697F645A3C}" dt="2023-02-17T13:17:12.128" v="311" actId="478"/>
          <ac:graphicFrameMkLst>
            <pc:docMk/>
            <pc:sldMk cId="1783596213" sldId="277"/>
            <ac:graphicFrameMk id="8" creationId="{457FDC3D-6599-4937-8F54-AFC40210B179}"/>
          </ac:graphicFrameMkLst>
        </pc:graphicFrameChg>
        <pc:graphicFrameChg chg="del">
          <ac:chgData name="Delibalta, Berk" userId="2336f646-0fbc-45f7-ad43-dedf81838ce9" providerId="ADAL" clId="{2C16A4BD-87AF-4A76-831D-55697F645A3C}" dt="2023-02-17T13:16:51.783" v="303" actId="478"/>
          <ac:graphicFrameMkLst>
            <pc:docMk/>
            <pc:sldMk cId="1783596213" sldId="277"/>
            <ac:graphicFrameMk id="9" creationId="{578FD258-F06E-42CD-BF83-F4DFCB5098D7}"/>
          </ac:graphicFrameMkLst>
        </pc:graphicFrameChg>
        <pc:picChg chg="add mod">
          <ac:chgData name="Delibalta, Berk" userId="2336f646-0fbc-45f7-ad43-dedf81838ce9" providerId="ADAL" clId="{2C16A4BD-87AF-4A76-831D-55697F645A3C}" dt="2023-02-17T13:21:00.326" v="340" actId="1076"/>
          <ac:picMkLst>
            <pc:docMk/>
            <pc:sldMk cId="1783596213" sldId="277"/>
            <ac:picMk id="11" creationId="{C0D417A1-1021-4E31-BD5B-8FE85C3416AF}"/>
          </ac:picMkLst>
        </pc:picChg>
        <pc:picChg chg="add mod">
          <ac:chgData name="Delibalta, Berk" userId="2336f646-0fbc-45f7-ad43-dedf81838ce9" providerId="ADAL" clId="{2C16A4BD-87AF-4A76-831D-55697F645A3C}" dt="2023-02-17T13:19:58.113" v="331" actId="1076"/>
          <ac:picMkLst>
            <pc:docMk/>
            <pc:sldMk cId="1783596213" sldId="277"/>
            <ac:picMk id="12" creationId="{158E1EDE-B210-4C21-AD7B-D5C255296D68}"/>
          </ac:picMkLst>
        </pc:picChg>
        <pc:picChg chg="add mod">
          <ac:chgData name="Delibalta, Berk" userId="2336f646-0fbc-45f7-ad43-dedf81838ce9" providerId="ADAL" clId="{2C16A4BD-87AF-4A76-831D-55697F645A3C}" dt="2023-02-17T13:19:55.603" v="330" actId="14100"/>
          <ac:picMkLst>
            <pc:docMk/>
            <pc:sldMk cId="1783596213" sldId="277"/>
            <ac:picMk id="14" creationId="{43100A8C-2FA1-4A89-91F3-264646593C24}"/>
          </ac:picMkLst>
        </pc:picChg>
      </pc:sldChg>
      <pc:sldChg chg="add del">
        <pc:chgData name="Delibalta, Berk" userId="2336f646-0fbc-45f7-ad43-dedf81838ce9" providerId="ADAL" clId="{2C16A4BD-87AF-4A76-831D-55697F645A3C}" dt="2023-02-17T12:57:57.895" v="31"/>
        <pc:sldMkLst>
          <pc:docMk/>
          <pc:sldMk cId="2984205586" sldId="277"/>
        </pc:sldMkLst>
      </pc:sldChg>
      <pc:sldChg chg="add del">
        <pc:chgData name="Delibalta, Berk" userId="2336f646-0fbc-45f7-ad43-dedf81838ce9" providerId="ADAL" clId="{2C16A4BD-87AF-4A76-831D-55697F645A3C}" dt="2023-02-17T13:12:27.614" v="209" actId="2696"/>
        <pc:sldMkLst>
          <pc:docMk/>
          <pc:sldMk cId="1308301249" sldId="278"/>
        </pc:sldMkLst>
      </pc:sldChg>
      <pc:sldChg chg="add del">
        <pc:chgData name="Delibalta, Berk" userId="2336f646-0fbc-45f7-ad43-dedf81838ce9" providerId="ADAL" clId="{2C16A4BD-87AF-4A76-831D-55697F645A3C}" dt="2023-02-17T13:12:20.836" v="207" actId="2696"/>
        <pc:sldMkLst>
          <pc:docMk/>
          <pc:sldMk cId="1400257654" sldId="279"/>
        </pc:sldMkLst>
      </pc:sldChg>
      <pc:sldChg chg="ord">
        <pc:chgData name="Delibalta, Berk" userId="2336f646-0fbc-45f7-ad43-dedf81838ce9" providerId="ADAL" clId="{2C16A4BD-87AF-4A76-831D-55697F645A3C}" dt="2023-02-27T09:59:22.770" v="1895"/>
        <pc:sldMkLst>
          <pc:docMk/>
          <pc:sldMk cId="2790547874" sldId="279"/>
        </pc:sldMkLst>
      </pc:sldChg>
      <pc:sldChg chg="addSp delSp modSp new mod">
        <pc:chgData name="Delibalta, Berk" userId="2336f646-0fbc-45f7-ad43-dedf81838ce9" providerId="ADAL" clId="{2C16A4BD-87AF-4A76-831D-55697F645A3C}" dt="2023-02-27T09:28:54.486" v="782" actId="20577"/>
        <pc:sldMkLst>
          <pc:docMk/>
          <pc:sldMk cId="3173022317" sldId="281"/>
        </pc:sldMkLst>
        <pc:spChg chg="add mod">
          <ac:chgData name="Delibalta, Berk" userId="2336f646-0fbc-45f7-ad43-dedf81838ce9" providerId="ADAL" clId="{2C16A4BD-87AF-4A76-831D-55697F645A3C}" dt="2023-02-27T09:06:24.997" v="423"/>
          <ac:spMkLst>
            <pc:docMk/>
            <pc:sldMk cId="3173022317" sldId="281"/>
            <ac:spMk id="2" creationId="{8A91A761-42FA-4E1C-96A7-22F73CCD85CE}"/>
          </ac:spMkLst>
        </pc:spChg>
        <pc:spChg chg="add mod">
          <ac:chgData name="Delibalta, Berk" userId="2336f646-0fbc-45f7-ad43-dedf81838ce9" providerId="ADAL" clId="{2C16A4BD-87AF-4A76-831D-55697F645A3C}" dt="2023-02-27T09:09:34.200" v="437" actId="1076"/>
          <ac:spMkLst>
            <pc:docMk/>
            <pc:sldMk cId="3173022317" sldId="281"/>
            <ac:spMk id="3" creationId="{25003FA7-50CF-4B24-A0CE-25F0DDFDEBF1}"/>
          </ac:spMkLst>
        </pc:spChg>
        <pc:spChg chg="add mod">
          <ac:chgData name="Delibalta, Berk" userId="2336f646-0fbc-45f7-ad43-dedf81838ce9" providerId="ADAL" clId="{2C16A4BD-87AF-4A76-831D-55697F645A3C}" dt="2023-02-27T09:24:20.125" v="709"/>
          <ac:spMkLst>
            <pc:docMk/>
            <pc:sldMk cId="3173022317" sldId="281"/>
            <ac:spMk id="6" creationId="{18B7D3FB-B893-4544-BB83-8349CCCDE98A}"/>
          </ac:spMkLst>
        </pc:spChg>
        <pc:spChg chg="add del mod">
          <ac:chgData name="Delibalta, Berk" userId="2336f646-0fbc-45f7-ad43-dedf81838ce9" providerId="ADAL" clId="{2C16A4BD-87AF-4A76-831D-55697F645A3C}" dt="2023-02-27T09:26:36.954" v="721" actId="478"/>
          <ac:spMkLst>
            <pc:docMk/>
            <pc:sldMk cId="3173022317" sldId="281"/>
            <ac:spMk id="7" creationId="{CAA99A7C-E067-4849-A2A6-2335634245AA}"/>
          </ac:spMkLst>
        </pc:spChg>
        <pc:spChg chg="add mod">
          <ac:chgData name="Delibalta, Berk" userId="2336f646-0fbc-45f7-ad43-dedf81838ce9" providerId="ADAL" clId="{2C16A4BD-87AF-4A76-831D-55697F645A3C}" dt="2023-02-27T09:24:46.804" v="712"/>
          <ac:spMkLst>
            <pc:docMk/>
            <pc:sldMk cId="3173022317" sldId="281"/>
            <ac:spMk id="8" creationId="{BFA29865-957E-4F2E-9B5D-796EEC77BF80}"/>
          </ac:spMkLst>
        </pc:spChg>
        <pc:spChg chg="add mod">
          <ac:chgData name="Delibalta, Berk" userId="2336f646-0fbc-45f7-ad43-dedf81838ce9" providerId="ADAL" clId="{2C16A4BD-87AF-4A76-831D-55697F645A3C}" dt="2023-02-27T09:25:34.840" v="718"/>
          <ac:spMkLst>
            <pc:docMk/>
            <pc:sldMk cId="3173022317" sldId="281"/>
            <ac:spMk id="12" creationId="{9B9C3322-D875-4390-9FA3-FD10C2AE8449}"/>
          </ac:spMkLst>
        </pc:spChg>
        <pc:spChg chg="add mod">
          <ac:chgData name="Delibalta, Berk" userId="2336f646-0fbc-45f7-ad43-dedf81838ce9" providerId="ADAL" clId="{2C16A4BD-87AF-4A76-831D-55697F645A3C}" dt="2023-02-27T09:25:45.029" v="719"/>
          <ac:spMkLst>
            <pc:docMk/>
            <pc:sldMk cId="3173022317" sldId="281"/>
            <ac:spMk id="13" creationId="{2FEC3778-5ED5-49DD-ADFB-C10C4FBB870D}"/>
          </ac:spMkLst>
        </pc:spChg>
        <pc:spChg chg="add mod">
          <ac:chgData name="Delibalta, Berk" userId="2336f646-0fbc-45f7-ad43-dedf81838ce9" providerId="ADAL" clId="{2C16A4BD-87AF-4A76-831D-55697F645A3C}" dt="2023-02-27T09:28:54.486" v="782" actId="20577"/>
          <ac:spMkLst>
            <pc:docMk/>
            <pc:sldMk cId="3173022317" sldId="281"/>
            <ac:spMk id="14" creationId="{9A9EE894-7DA2-4282-A4C4-ADF844910A82}"/>
          </ac:spMkLst>
        </pc:spChg>
        <pc:spChg chg="add mod">
          <ac:chgData name="Delibalta, Berk" userId="2336f646-0fbc-45f7-ad43-dedf81838ce9" providerId="ADAL" clId="{2C16A4BD-87AF-4A76-831D-55697F645A3C}" dt="2023-02-27T09:26:37.677" v="722"/>
          <ac:spMkLst>
            <pc:docMk/>
            <pc:sldMk cId="3173022317" sldId="281"/>
            <ac:spMk id="15" creationId="{932F6C5B-4FB3-4069-A2CA-E2C1E0FDC487}"/>
          </ac:spMkLst>
        </pc:spChg>
        <pc:spChg chg="add mod">
          <ac:chgData name="Delibalta, Berk" userId="2336f646-0fbc-45f7-ad43-dedf81838ce9" providerId="ADAL" clId="{2C16A4BD-87AF-4A76-831D-55697F645A3C}" dt="2023-02-27T09:26:48.720" v="723"/>
          <ac:spMkLst>
            <pc:docMk/>
            <pc:sldMk cId="3173022317" sldId="281"/>
            <ac:spMk id="16" creationId="{9A5FD2D4-A02B-41D8-B6BB-76D74C810007}"/>
          </ac:spMkLst>
        </pc:spChg>
        <pc:spChg chg="add mod">
          <ac:chgData name="Delibalta, Berk" userId="2336f646-0fbc-45f7-ad43-dedf81838ce9" providerId="ADAL" clId="{2C16A4BD-87AF-4A76-831D-55697F645A3C}" dt="2023-02-27T09:27:07.195" v="724"/>
          <ac:spMkLst>
            <pc:docMk/>
            <pc:sldMk cId="3173022317" sldId="281"/>
            <ac:spMk id="17" creationId="{F4AB94FF-1145-40F7-B469-CF577944560F}"/>
          </ac:spMkLst>
        </pc:spChg>
        <pc:picChg chg="add mod">
          <ac:chgData name="Delibalta, Berk" userId="2336f646-0fbc-45f7-ad43-dedf81838ce9" providerId="ADAL" clId="{2C16A4BD-87AF-4A76-831D-55697F645A3C}" dt="2023-02-27T09:07:39.954" v="429" actId="1076"/>
          <ac:picMkLst>
            <pc:docMk/>
            <pc:sldMk cId="3173022317" sldId="281"/>
            <ac:picMk id="5" creationId="{C1577ABB-412C-4FAD-87FC-7B8597ED48D7}"/>
          </ac:picMkLst>
        </pc:picChg>
        <pc:cxnChg chg="add mod">
          <ac:chgData name="Delibalta, Berk" userId="2336f646-0fbc-45f7-ad43-dedf81838ce9" providerId="ADAL" clId="{2C16A4BD-87AF-4A76-831D-55697F645A3C}" dt="2023-02-27T09:24:55.586" v="713"/>
          <ac:cxnSpMkLst>
            <pc:docMk/>
            <pc:sldMk cId="3173022317" sldId="281"/>
            <ac:cxnSpMk id="9" creationId="{48A70C7D-1B68-4A51-8583-B2E4F0C78941}"/>
          </ac:cxnSpMkLst>
        </pc:cxnChg>
        <pc:cxnChg chg="add mod">
          <ac:chgData name="Delibalta, Berk" userId="2336f646-0fbc-45f7-ad43-dedf81838ce9" providerId="ADAL" clId="{2C16A4BD-87AF-4A76-831D-55697F645A3C}" dt="2023-02-27T09:25:04.626" v="715" actId="1076"/>
          <ac:cxnSpMkLst>
            <pc:docMk/>
            <pc:sldMk cId="3173022317" sldId="281"/>
            <ac:cxnSpMk id="10" creationId="{A11458CF-FD61-4368-B34B-8832D096CB22}"/>
          </ac:cxnSpMkLst>
        </pc:cxnChg>
        <pc:cxnChg chg="add mod">
          <ac:chgData name="Delibalta, Berk" userId="2336f646-0fbc-45f7-ad43-dedf81838ce9" providerId="ADAL" clId="{2C16A4BD-87AF-4A76-831D-55697F645A3C}" dt="2023-02-27T09:25:13.893" v="717" actId="1076"/>
          <ac:cxnSpMkLst>
            <pc:docMk/>
            <pc:sldMk cId="3173022317" sldId="281"/>
            <ac:cxnSpMk id="11" creationId="{6C605AAF-D32D-4D11-B203-16150C0BA0AB}"/>
          </ac:cxnSpMkLst>
        </pc:cxnChg>
        <pc:cxnChg chg="add mod">
          <ac:chgData name="Delibalta, Berk" userId="2336f646-0fbc-45f7-ad43-dedf81838ce9" providerId="ADAL" clId="{2C16A4BD-87AF-4A76-831D-55697F645A3C}" dt="2023-02-27T09:27:46.959" v="761"/>
          <ac:cxnSpMkLst>
            <pc:docMk/>
            <pc:sldMk cId="3173022317" sldId="281"/>
            <ac:cxnSpMk id="18" creationId="{B6E8F836-83DA-4F91-A4CE-44845E59FB0A}"/>
          </ac:cxnSpMkLst>
        </pc:cxnChg>
        <pc:cxnChg chg="add mod">
          <ac:chgData name="Delibalta, Berk" userId="2336f646-0fbc-45f7-ad43-dedf81838ce9" providerId="ADAL" clId="{2C16A4BD-87AF-4A76-831D-55697F645A3C}" dt="2023-02-27T09:27:54.508" v="762"/>
          <ac:cxnSpMkLst>
            <pc:docMk/>
            <pc:sldMk cId="3173022317" sldId="281"/>
            <ac:cxnSpMk id="19" creationId="{572BA0D5-B79B-4F9E-9732-D44FD816C8AA}"/>
          </ac:cxnSpMkLst>
        </pc:cxnChg>
      </pc:sldChg>
      <pc:sldChg chg="addSp delSp modSp new mod">
        <pc:chgData name="Delibalta, Berk" userId="2336f646-0fbc-45f7-ad43-dedf81838ce9" providerId="ADAL" clId="{2C16A4BD-87AF-4A76-831D-55697F645A3C}" dt="2023-02-27T09:29:26.564" v="795" actId="20577"/>
        <pc:sldMkLst>
          <pc:docMk/>
          <pc:sldMk cId="1197166279" sldId="282"/>
        </pc:sldMkLst>
        <pc:spChg chg="add mod">
          <ac:chgData name="Delibalta, Berk" userId="2336f646-0fbc-45f7-ad43-dedf81838ce9" providerId="ADAL" clId="{2C16A4BD-87AF-4A76-831D-55697F645A3C}" dt="2023-02-27T09:08:09.941" v="431"/>
          <ac:spMkLst>
            <pc:docMk/>
            <pc:sldMk cId="1197166279" sldId="282"/>
            <ac:spMk id="2" creationId="{9A70D2DF-F851-493A-983E-16EDE64A32E6}"/>
          </ac:spMkLst>
        </pc:spChg>
        <pc:spChg chg="add mod">
          <ac:chgData name="Delibalta, Berk" userId="2336f646-0fbc-45f7-ad43-dedf81838ce9" providerId="ADAL" clId="{2C16A4BD-87AF-4A76-831D-55697F645A3C}" dt="2023-02-27T09:09:24.806" v="436" actId="1076"/>
          <ac:spMkLst>
            <pc:docMk/>
            <pc:sldMk cId="1197166279" sldId="282"/>
            <ac:spMk id="3" creationId="{46323177-A96E-4886-8C9F-616E94789D9D}"/>
          </ac:spMkLst>
        </pc:spChg>
        <pc:spChg chg="add mod">
          <ac:chgData name="Delibalta, Berk" userId="2336f646-0fbc-45f7-ad43-dedf81838ce9" providerId="ADAL" clId="{2C16A4BD-87AF-4A76-831D-55697F645A3C}" dt="2023-02-27T09:16:36.558" v="458" actId="207"/>
          <ac:spMkLst>
            <pc:docMk/>
            <pc:sldMk cId="1197166279" sldId="282"/>
            <ac:spMk id="14" creationId="{CA0AAA6C-61C2-448B-90A2-69A80836FC41}"/>
          </ac:spMkLst>
        </pc:spChg>
        <pc:spChg chg="add mod">
          <ac:chgData name="Delibalta, Berk" userId="2336f646-0fbc-45f7-ad43-dedf81838ce9" providerId="ADAL" clId="{2C16A4BD-87AF-4A76-831D-55697F645A3C}" dt="2023-02-27T09:17:44.693" v="466" actId="208"/>
          <ac:spMkLst>
            <pc:docMk/>
            <pc:sldMk cId="1197166279" sldId="282"/>
            <ac:spMk id="15" creationId="{147E2712-4AB3-4E4D-A0A4-BFB0AD69733B}"/>
          </ac:spMkLst>
        </pc:spChg>
        <pc:spChg chg="add mod">
          <ac:chgData name="Delibalta, Berk" userId="2336f646-0fbc-45f7-ad43-dedf81838ce9" providerId="ADAL" clId="{2C16A4BD-87AF-4A76-831D-55697F645A3C}" dt="2023-02-27T09:17:21.654" v="462" actId="1076"/>
          <ac:spMkLst>
            <pc:docMk/>
            <pc:sldMk cId="1197166279" sldId="282"/>
            <ac:spMk id="16" creationId="{6192E1FE-6ADA-40D0-AE35-F8120BC3F93A}"/>
          </ac:spMkLst>
        </pc:spChg>
        <pc:spChg chg="add mod">
          <ac:chgData name="Delibalta, Berk" userId="2336f646-0fbc-45f7-ad43-dedf81838ce9" providerId="ADAL" clId="{2C16A4BD-87AF-4A76-831D-55697F645A3C}" dt="2023-02-27T09:17:50.591" v="467" actId="208"/>
          <ac:spMkLst>
            <pc:docMk/>
            <pc:sldMk cId="1197166279" sldId="282"/>
            <ac:spMk id="17" creationId="{186FDE39-1503-4B8A-85AB-932BC6BDD06E}"/>
          </ac:spMkLst>
        </pc:spChg>
        <pc:spChg chg="add mod">
          <ac:chgData name="Delibalta, Berk" userId="2336f646-0fbc-45f7-ad43-dedf81838ce9" providerId="ADAL" clId="{2C16A4BD-87AF-4A76-831D-55697F645A3C}" dt="2023-02-27T09:18:39.047" v="490" actId="20577"/>
          <ac:spMkLst>
            <pc:docMk/>
            <pc:sldMk cId="1197166279" sldId="282"/>
            <ac:spMk id="18" creationId="{89129697-C34D-4A5C-A8A1-FDD70BE3C991}"/>
          </ac:spMkLst>
        </pc:spChg>
        <pc:spChg chg="add mod">
          <ac:chgData name="Delibalta, Berk" userId="2336f646-0fbc-45f7-ad43-dedf81838ce9" providerId="ADAL" clId="{2C16A4BD-87AF-4A76-831D-55697F645A3C}" dt="2023-02-27T09:20:18.241" v="583" actId="1076"/>
          <ac:spMkLst>
            <pc:docMk/>
            <pc:sldMk cId="1197166279" sldId="282"/>
            <ac:spMk id="19" creationId="{B2591731-5486-4C5F-BCB2-A11695A777D1}"/>
          </ac:spMkLst>
        </pc:spChg>
        <pc:spChg chg="add del mod">
          <ac:chgData name="Delibalta, Berk" userId="2336f646-0fbc-45f7-ad43-dedf81838ce9" providerId="ADAL" clId="{2C16A4BD-87AF-4A76-831D-55697F645A3C}" dt="2023-02-27T09:20:48.765" v="587"/>
          <ac:spMkLst>
            <pc:docMk/>
            <pc:sldMk cId="1197166279" sldId="282"/>
            <ac:spMk id="22" creationId="{12DFC6AF-0B3D-4800-9EB7-DFCEF1A985D4}"/>
          </ac:spMkLst>
        </pc:spChg>
        <pc:spChg chg="add del mod">
          <ac:chgData name="Delibalta, Berk" userId="2336f646-0fbc-45f7-ad43-dedf81838ce9" providerId="ADAL" clId="{2C16A4BD-87AF-4A76-831D-55697F645A3C}" dt="2023-02-27T09:21:22.703" v="593"/>
          <ac:spMkLst>
            <pc:docMk/>
            <pc:sldMk cId="1197166279" sldId="282"/>
            <ac:spMk id="25" creationId="{207E2821-7B1E-48D3-8021-74ED4A53AE53}"/>
          </ac:spMkLst>
        </pc:spChg>
        <pc:spChg chg="add mod">
          <ac:chgData name="Delibalta, Berk" userId="2336f646-0fbc-45f7-ad43-dedf81838ce9" providerId="ADAL" clId="{2C16A4BD-87AF-4A76-831D-55697F645A3C}" dt="2023-02-27T09:29:26.564" v="795" actId="20577"/>
          <ac:spMkLst>
            <pc:docMk/>
            <pc:sldMk cId="1197166279" sldId="282"/>
            <ac:spMk id="26" creationId="{E7AB5F01-4487-4D81-8CE8-221CD55BA968}"/>
          </ac:spMkLst>
        </pc:spChg>
        <pc:spChg chg="add mod">
          <ac:chgData name="Delibalta, Berk" userId="2336f646-0fbc-45f7-ad43-dedf81838ce9" providerId="ADAL" clId="{2C16A4BD-87AF-4A76-831D-55697F645A3C}" dt="2023-02-27T09:23:18.403" v="706" actId="1076"/>
          <ac:spMkLst>
            <pc:docMk/>
            <pc:sldMk cId="1197166279" sldId="282"/>
            <ac:spMk id="27" creationId="{A239572C-83CE-4E66-BE18-3C25AE7B31BD}"/>
          </ac:spMkLst>
        </pc:spChg>
        <pc:picChg chg="add mod">
          <ac:chgData name="Delibalta, Berk" userId="2336f646-0fbc-45f7-ad43-dedf81838ce9" providerId="ADAL" clId="{2C16A4BD-87AF-4A76-831D-55697F645A3C}" dt="2023-02-27T09:09:15.336" v="435" actId="1076"/>
          <ac:picMkLst>
            <pc:docMk/>
            <pc:sldMk cId="1197166279" sldId="282"/>
            <ac:picMk id="5" creationId="{638AD766-4812-4B5B-861B-55DBEECA70D7}"/>
          </ac:picMkLst>
        </pc:picChg>
        <pc:cxnChg chg="add mod">
          <ac:chgData name="Delibalta, Berk" userId="2336f646-0fbc-45f7-ad43-dedf81838ce9" providerId="ADAL" clId="{2C16A4BD-87AF-4A76-831D-55697F645A3C}" dt="2023-02-27T09:23:32.469" v="707" actId="13822"/>
          <ac:cxnSpMkLst>
            <pc:docMk/>
            <pc:sldMk cId="1197166279" sldId="282"/>
            <ac:cxnSpMk id="7" creationId="{357D0F29-0FA2-4D81-8009-09CE2312B8D4}"/>
          </ac:cxnSpMkLst>
        </pc:cxnChg>
        <pc:cxnChg chg="add mod">
          <ac:chgData name="Delibalta, Berk" userId="2336f646-0fbc-45f7-ad43-dedf81838ce9" providerId="ADAL" clId="{2C16A4BD-87AF-4A76-831D-55697F645A3C}" dt="2023-02-27T09:23:41.259" v="708" actId="13822"/>
          <ac:cxnSpMkLst>
            <pc:docMk/>
            <pc:sldMk cId="1197166279" sldId="282"/>
            <ac:cxnSpMk id="10" creationId="{5DC114B4-FFEB-45A7-8752-C64AD1434A18}"/>
          </ac:cxnSpMkLst>
        </pc:cxnChg>
        <pc:cxnChg chg="add mod">
          <ac:chgData name="Delibalta, Berk" userId="2336f646-0fbc-45f7-ad43-dedf81838ce9" providerId="ADAL" clId="{2C16A4BD-87AF-4A76-831D-55697F645A3C}" dt="2023-02-27T09:20:43.884" v="585" actId="1076"/>
          <ac:cxnSpMkLst>
            <pc:docMk/>
            <pc:sldMk cId="1197166279" sldId="282"/>
            <ac:cxnSpMk id="21" creationId="{8519B257-9215-48C2-BD4A-99FB316ED280}"/>
          </ac:cxnSpMkLst>
        </pc:cxnChg>
        <pc:cxnChg chg="add mod">
          <ac:chgData name="Delibalta, Berk" userId="2336f646-0fbc-45f7-ad43-dedf81838ce9" providerId="ADAL" clId="{2C16A4BD-87AF-4A76-831D-55697F645A3C}" dt="2023-02-27T09:20:57.285" v="589" actId="1076"/>
          <ac:cxnSpMkLst>
            <pc:docMk/>
            <pc:sldMk cId="1197166279" sldId="282"/>
            <ac:cxnSpMk id="23" creationId="{BE759841-966B-4AE3-8196-735F0A238F32}"/>
          </ac:cxnSpMkLst>
        </pc:cxnChg>
        <pc:cxnChg chg="add mod">
          <ac:chgData name="Delibalta, Berk" userId="2336f646-0fbc-45f7-ad43-dedf81838ce9" providerId="ADAL" clId="{2C16A4BD-87AF-4A76-831D-55697F645A3C}" dt="2023-02-27T09:21:09.729" v="591" actId="1076"/>
          <ac:cxnSpMkLst>
            <pc:docMk/>
            <pc:sldMk cId="1197166279" sldId="282"/>
            <ac:cxnSpMk id="24" creationId="{F9B6BAAE-2D2C-4B1F-9A94-644700AFE184}"/>
          </ac:cxnSpMkLst>
        </pc:cxnChg>
      </pc:sldChg>
      <pc:sldChg chg="addSp modSp new del mod">
        <pc:chgData name="Delibalta, Berk" userId="2336f646-0fbc-45f7-ad43-dedf81838ce9" providerId="ADAL" clId="{2C16A4BD-87AF-4A76-831D-55697F645A3C}" dt="2023-02-27T09:55:28.894" v="1885" actId="2696"/>
        <pc:sldMkLst>
          <pc:docMk/>
          <pc:sldMk cId="1137942114" sldId="283"/>
        </pc:sldMkLst>
        <pc:spChg chg="add mod">
          <ac:chgData name="Delibalta, Berk" userId="2336f646-0fbc-45f7-ad43-dedf81838ce9" providerId="ADAL" clId="{2C16A4BD-87AF-4A76-831D-55697F645A3C}" dt="2023-02-27T09:32:15.113" v="816" actId="313"/>
          <ac:spMkLst>
            <pc:docMk/>
            <pc:sldMk cId="1137942114" sldId="283"/>
            <ac:spMk id="2" creationId="{D1053892-E1E3-429D-98A6-C059E7FB047F}"/>
          </ac:spMkLst>
        </pc:spChg>
      </pc:sldChg>
      <pc:sldChg chg="modSp add mod">
        <pc:chgData name="Delibalta, Berk" userId="2336f646-0fbc-45f7-ad43-dedf81838ce9" providerId="ADAL" clId="{2C16A4BD-87AF-4A76-831D-55697F645A3C}" dt="2023-02-27T13:04:35.446" v="3348" actId="20577"/>
        <pc:sldMkLst>
          <pc:docMk/>
          <pc:sldMk cId="2049902759" sldId="284"/>
        </pc:sldMkLst>
        <pc:spChg chg="mod">
          <ac:chgData name="Delibalta, Berk" userId="2336f646-0fbc-45f7-ad43-dedf81838ce9" providerId="ADAL" clId="{2C16A4BD-87AF-4A76-831D-55697F645A3C}" dt="2023-02-27T13:04:19.976" v="3316" actId="20577"/>
          <ac:spMkLst>
            <pc:docMk/>
            <pc:sldMk cId="2049902759" sldId="284"/>
            <ac:spMk id="3" creationId="{00000000-0000-0000-0000-000000000000}"/>
          </ac:spMkLst>
        </pc:spChg>
        <pc:spChg chg="mod">
          <ac:chgData name="Delibalta, Berk" userId="2336f646-0fbc-45f7-ad43-dedf81838ce9" providerId="ADAL" clId="{2C16A4BD-87AF-4A76-831D-55697F645A3C}" dt="2023-02-27T09:42:19.749" v="863" actId="20577"/>
          <ac:spMkLst>
            <pc:docMk/>
            <pc:sldMk cId="2049902759" sldId="284"/>
            <ac:spMk id="4" creationId="{00000000-0000-0000-0000-000000000000}"/>
          </ac:spMkLst>
        </pc:spChg>
        <pc:spChg chg="mod">
          <ac:chgData name="Delibalta, Berk" userId="2336f646-0fbc-45f7-ad43-dedf81838ce9" providerId="ADAL" clId="{2C16A4BD-87AF-4A76-831D-55697F645A3C}" dt="2023-02-27T09:47:02.131" v="1178" actId="1076"/>
          <ac:spMkLst>
            <pc:docMk/>
            <pc:sldMk cId="2049902759" sldId="284"/>
            <ac:spMk id="12" creationId="{00000000-0000-0000-0000-000000000000}"/>
          </ac:spMkLst>
        </pc:spChg>
        <pc:spChg chg="mod">
          <ac:chgData name="Delibalta, Berk" userId="2336f646-0fbc-45f7-ad43-dedf81838ce9" providerId="ADAL" clId="{2C16A4BD-87AF-4A76-831D-55697F645A3C}" dt="2023-02-27T09:51:29.581" v="1634" actId="1076"/>
          <ac:spMkLst>
            <pc:docMk/>
            <pc:sldMk cId="2049902759" sldId="284"/>
            <ac:spMk id="13" creationId="{00000000-0000-0000-0000-000000000000}"/>
          </ac:spMkLst>
        </pc:spChg>
        <pc:spChg chg="mod">
          <ac:chgData name="Delibalta, Berk" userId="2336f646-0fbc-45f7-ad43-dedf81838ce9" providerId="ADAL" clId="{2C16A4BD-87AF-4A76-831D-55697F645A3C}" dt="2023-02-27T09:47:20.006" v="1180" actId="1076"/>
          <ac:spMkLst>
            <pc:docMk/>
            <pc:sldMk cId="2049902759" sldId="284"/>
            <ac:spMk id="15" creationId="{00000000-0000-0000-0000-000000000000}"/>
          </ac:spMkLst>
        </pc:spChg>
        <pc:spChg chg="mod">
          <ac:chgData name="Delibalta, Berk" userId="2336f646-0fbc-45f7-ad43-dedf81838ce9" providerId="ADAL" clId="{2C16A4BD-87AF-4A76-831D-55697F645A3C}" dt="2023-02-27T09:54:20.936" v="1735" actId="20577"/>
          <ac:spMkLst>
            <pc:docMk/>
            <pc:sldMk cId="2049902759" sldId="284"/>
            <ac:spMk id="17" creationId="{00000000-0000-0000-0000-000000000000}"/>
          </ac:spMkLst>
        </pc:spChg>
        <pc:spChg chg="mod">
          <ac:chgData name="Delibalta, Berk" userId="2336f646-0fbc-45f7-ad43-dedf81838ce9" providerId="ADAL" clId="{2C16A4BD-87AF-4A76-831D-55697F645A3C}" dt="2023-02-27T09:46:50.275" v="1177" actId="20577"/>
          <ac:spMkLst>
            <pc:docMk/>
            <pc:sldMk cId="2049902759" sldId="284"/>
            <ac:spMk id="20" creationId="{00000000-0000-0000-0000-000000000000}"/>
          </ac:spMkLst>
        </pc:spChg>
        <pc:graphicFrameChg chg="mod modGraphic">
          <ac:chgData name="Delibalta, Berk" userId="2336f646-0fbc-45f7-ad43-dedf81838ce9" providerId="ADAL" clId="{2C16A4BD-87AF-4A76-831D-55697F645A3C}" dt="2023-02-27T13:04:35.446" v="3348" actId="20577"/>
          <ac:graphicFrameMkLst>
            <pc:docMk/>
            <pc:sldMk cId="2049902759" sldId="284"/>
            <ac:graphicFrameMk id="14" creationId="{00000000-0000-0000-0000-000000000000}"/>
          </ac:graphicFrameMkLst>
        </pc:graphicFrameChg>
      </pc:sldChg>
      <pc:sldChg chg="modSp new del mod">
        <pc:chgData name="Delibalta, Berk" userId="2336f646-0fbc-45f7-ad43-dedf81838ce9" providerId="ADAL" clId="{2C16A4BD-87AF-4A76-831D-55697F645A3C}" dt="2023-02-27T11:39:13.642" v="2001" actId="2696"/>
        <pc:sldMkLst>
          <pc:docMk/>
          <pc:sldMk cId="3742478959" sldId="285"/>
        </pc:sldMkLst>
        <pc:spChg chg="mod">
          <ac:chgData name="Delibalta, Berk" userId="2336f646-0fbc-45f7-ad43-dedf81838ce9" providerId="ADAL" clId="{2C16A4BD-87AF-4A76-831D-55697F645A3C}" dt="2023-02-27T11:36:56.024" v="1999" actId="1076"/>
          <ac:spMkLst>
            <pc:docMk/>
            <pc:sldMk cId="3742478959" sldId="285"/>
            <ac:spMk id="2" creationId="{347EE74B-9FBC-46ED-99B3-FF48164BAA3E}"/>
          </ac:spMkLst>
        </pc:spChg>
        <pc:spChg chg="mod">
          <ac:chgData name="Delibalta, Berk" userId="2336f646-0fbc-45f7-ad43-dedf81838ce9" providerId="ADAL" clId="{2C16A4BD-87AF-4A76-831D-55697F645A3C}" dt="2023-02-27T11:36:35.177" v="1998"/>
          <ac:spMkLst>
            <pc:docMk/>
            <pc:sldMk cId="3742478959" sldId="285"/>
            <ac:spMk id="3" creationId="{028C6278-AC27-4B87-8F86-FE61F34C7694}"/>
          </ac:spMkLst>
        </pc:spChg>
      </pc:sldChg>
      <pc:sldChg chg="addSp delSp modSp add mod ord">
        <pc:chgData name="Delibalta, Berk" userId="2336f646-0fbc-45f7-ad43-dedf81838ce9" providerId="ADAL" clId="{2C16A4BD-87AF-4A76-831D-55697F645A3C}" dt="2023-02-27T13:25:20.538" v="3417" actId="1076"/>
        <pc:sldMkLst>
          <pc:docMk/>
          <pc:sldMk cId="2092760507" sldId="286"/>
        </pc:sldMkLst>
        <pc:spChg chg="del mod">
          <ac:chgData name="Delibalta, Berk" userId="2336f646-0fbc-45f7-ad43-dedf81838ce9" providerId="ADAL" clId="{2C16A4BD-87AF-4A76-831D-55697F645A3C}" dt="2023-02-27T11:39:40.482" v="2040" actId="478"/>
          <ac:spMkLst>
            <pc:docMk/>
            <pc:sldMk cId="2092760507" sldId="286"/>
            <ac:spMk id="2" creationId="{00000000-0000-0000-0000-000000000000}"/>
          </ac:spMkLst>
        </pc:spChg>
        <pc:spChg chg="mod">
          <ac:chgData name="Delibalta, Berk" userId="2336f646-0fbc-45f7-ad43-dedf81838ce9" providerId="ADAL" clId="{2C16A4BD-87AF-4A76-831D-55697F645A3C}" dt="2023-02-27T13:03:59.532" v="3283" actId="20577"/>
          <ac:spMkLst>
            <pc:docMk/>
            <pc:sldMk cId="2092760507" sldId="286"/>
            <ac:spMk id="3" creationId="{00000000-0000-0000-0000-000000000000}"/>
          </ac:spMkLst>
        </pc:spChg>
        <pc:spChg chg="mod">
          <ac:chgData name="Delibalta, Berk" userId="2336f646-0fbc-45f7-ad43-dedf81838ce9" providerId="ADAL" clId="{2C16A4BD-87AF-4A76-831D-55697F645A3C}" dt="2023-02-27T11:48:44.225" v="3128" actId="207"/>
          <ac:spMkLst>
            <pc:docMk/>
            <pc:sldMk cId="2092760507" sldId="286"/>
            <ac:spMk id="6" creationId="{00000000-0000-0000-0000-000000000000}"/>
          </ac:spMkLst>
        </pc:spChg>
        <pc:spChg chg="mod">
          <ac:chgData name="Delibalta, Berk" userId="2336f646-0fbc-45f7-ad43-dedf81838ce9" providerId="ADAL" clId="{2C16A4BD-87AF-4A76-831D-55697F645A3C}" dt="2023-02-27T13:05:05.699" v="3351" actId="1076"/>
          <ac:spMkLst>
            <pc:docMk/>
            <pc:sldMk cId="2092760507" sldId="286"/>
            <ac:spMk id="7" creationId="{00000000-0000-0000-0000-000000000000}"/>
          </ac:spMkLst>
        </pc:spChg>
        <pc:spChg chg="del">
          <ac:chgData name="Delibalta, Berk" userId="2336f646-0fbc-45f7-ad43-dedf81838ce9" providerId="ADAL" clId="{2C16A4BD-87AF-4A76-831D-55697F645A3C}" dt="2023-02-27T11:40:07.623" v="2067" actId="478"/>
          <ac:spMkLst>
            <pc:docMk/>
            <pc:sldMk cId="2092760507" sldId="286"/>
            <ac:spMk id="8" creationId="{00000000-0000-0000-0000-000000000000}"/>
          </ac:spMkLst>
        </pc:spChg>
        <pc:spChg chg="del">
          <ac:chgData name="Delibalta, Berk" userId="2336f646-0fbc-45f7-ad43-dedf81838ce9" providerId="ADAL" clId="{2C16A4BD-87AF-4A76-831D-55697F645A3C}" dt="2023-02-27T11:40:08.853" v="2068" actId="478"/>
          <ac:spMkLst>
            <pc:docMk/>
            <pc:sldMk cId="2092760507" sldId="286"/>
            <ac:spMk id="9" creationId="{00000000-0000-0000-0000-000000000000}"/>
          </ac:spMkLst>
        </pc:spChg>
        <pc:spChg chg="mod">
          <ac:chgData name="Delibalta, Berk" userId="2336f646-0fbc-45f7-ad43-dedf81838ce9" providerId="ADAL" clId="{2C16A4BD-87AF-4A76-831D-55697F645A3C}" dt="2023-02-27T13:04:48.535" v="3349" actId="1076"/>
          <ac:spMkLst>
            <pc:docMk/>
            <pc:sldMk cId="2092760507" sldId="286"/>
            <ac:spMk id="10" creationId="{00000000-0000-0000-0000-000000000000}"/>
          </ac:spMkLst>
        </pc:spChg>
        <pc:spChg chg="mod">
          <ac:chgData name="Delibalta, Berk" userId="2336f646-0fbc-45f7-ad43-dedf81838ce9" providerId="ADAL" clId="{2C16A4BD-87AF-4A76-831D-55697F645A3C}" dt="2023-02-27T13:24:44.549" v="3415" actId="1076"/>
          <ac:spMkLst>
            <pc:docMk/>
            <pc:sldMk cId="2092760507" sldId="286"/>
            <ac:spMk id="11" creationId="{00000000-0000-0000-0000-000000000000}"/>
          </ac:spMkLst>
        </pc:spChg>
        <pc:spChg chg="del">
          <ac:chgData name="Delibalta, Berk" userId="2336f646-0fbc-45f7-ad43-dedf81838ce9" providerId="ADAL" clId="{2C16A4BD-87AF-4A76-831D-55697F645A3C}" dt="2023-02-27T11:40:10.546" v="2069" actId="478"/>
          <ac:spMkLst>
            <pc:docMk/>
            <pc:sldMk cId="2092760507" sldId="286"/>
            <ac:spMk id="12" creationId="{00000000-0000-0000-0000-000000000000}"/>
          </ac:spMkLst>
        </pc:spChg>
        <pc:spChg chg="del mod">
          <ac:chgData name="Delibalta, Berk" userId="2336f646-0fbc-45f7-ad43-dedf81838ce9" providerId="ADAL" clId="{2C16A4BD-87AF-4A76-831D-55697F645A3C}" dt="2023-02-27T11:40:14.600" v="2071" actId="478"/>
          <ac:spMkLst>
            <pc:docMk/>
            <pc:sldMk cId="2092760507" sldId="286"/>
            <ac:spMk id="13" creationId="{00000000-0000-0000-0000-000000000000}"/>
          </ac:spMkLst>
        </pc:spChg>
        <pc:spChg chg="add del mod">
          <ac:chgData name="Delibalta, Berk" userId="2336f646-0fbc-45f7-ad43-dedf81838ce9" providerId="ADAL" clId="{2C16A4BD-87AF-4A76-831D-55697F645A3C}" dt="2023-02-27T11:52:52.830" v="3200" actId="478"/>
          <ac:spMkLst>
            <pc:docMk/>
            <pc:sldMk cId="2092760507" sldId="286"/>
            <ac:spMk id="14" creationId="{076B30CB-E343-4E71-AD55-E80373AE9867}"/>
          </ac:spMkLst>
        </pc:spChg>
        <pc:spChg chg="add mod">
          <ac:chgData name="Delibalta, Berk" userId="2336f646-0fbc-45f7-ad43-dedf81838ce9" providerId="ADAL" clId="{2C16A4BD-87AF-4A76-831D-55697F645A3C}" dt="2023-02-27T13:25:20.538" v="3417" actId="1076"/>
          <ac:spMkLst>
            <pc:docMk/>
            <pc:sldMk cId="2092760507" sldId="286"/>
            <ac:spMk id="15" creationId="{D74A5BB2-0B30-46EE-92B8-23EA667EF153}"/>
          </ac:spMkLst>
        </pc:spChg>
      </pc:sldChg>
    </pc:docChg>
  </pc:docChgLst>
  <pc:docChgLst>
    <pc:chgData name="Orsini, Massimiliano" userId="S::morsini@deloitte.it::e23a083b-875a-4f48-ba50-2ebc8c6e203b" providerId="AD" clId="Web-{B85026F7-1692-D05A-595C-3E083A36AC30}"/>
    <pc:docChg chg="modSld">
      <pc:chgData name="Orsini, Massimiliano" userId="S::morsini@deloitte.it::e23a083b-875a-4f48-ba50-2ebc8c6e203b" providerId="AD" clId="Web-{B85026F7-1692-D05A-595C-3E083A36AC30}" dt="2023-02-26T17:16:07.252" v="47" actId="1076"/>
      <pc:docMkLst>
        <pc:docMk/>
      </pc:docMkLst>
      <pc:sldChg chg="addSp delSp modSp">
        <pc:chgData name="Orsini, Massimiliano" userId="S::morsini@deloitte.it::e23a083b-875a-4f48-ba50-2ebc8c6e203b" providerId="AD" clId="Web-{B85026F7-1692-D05A-595C-3E083A36AC30}" dt="2023-02-26T17:15:07.110" v="31"/>
        <pc:sldMkLst>
          <pc:docMk/>
          <pc:sldMk cId="1340512310" sldId="276"/>
        </pc:sldMkLst>
        <pc:spChg chg="add mod">
          <ac:chgData name="Orsini, Massimiliano" userId="S::morsini@deloitte.it::e23a083b-875a-4f48-ba50-2ebc8c6e203b" providerId="AD" clId="Web-{B85026F7-1692-D05A-595C-3E083A36AC30}" dt="2023-02-26T17:12:37.294" v="1" actId="1076"/>
          <ac:spMkLst>
            <pc:docMk/>
            <pc:sldMk cId="1340512310" sldId="276"/>
            <ac:spMk id="13" creationId="{36C6087A-24E1-CA0D-4796-717A633936D0}"/>
          </ac:spMkLst>
        </pc:spChg>
        <pc:spChg chg="add del mod">
          <ac:chgData name="Orsini, Massimiliano" userId="S::morsini@deloitte.it::e23a083b-875a-4f48-ba50-2ebc8c6e203b" providerId="AD" clId="Web-{B85026F7-1692-D05A-595C-3E083A36AC30}" dt="2023-02-26T17:15:07.110" v="31"/>
          <ac:spMkLst>
            <pc:docMk/>
            <pc:sldMk cId="1340512310" sldId="276"/>
            <ac:spMk id="17" creationId="{DA9507DD-B1C8-71BD-3CA0-C5553941C6B5}"/>
          </ac:spMkLst>
        </pc:spChg>
        <pc:spChg chg="add mod">
          <ac:chgData name="Orsini, Massimiliano" userId="S::morsini@deloitte.it::e23a083b-875a-4f48-ba50-2ebc8c6e203b" providerId="AD" clId="Web-{B85026F7-1692-D05A-595C-3E083A36AC30}" dt="2023-02-26T17:13:25.576" v="10" actId="1076"/>
          <ac:spMkLst>
            <pc:docMk/>
            <pc:sldMk cId="1340512310" sldId="276"/>
            <ac:spMk id="18" creationId="{414C823E-2066-54DA-A830-260A9ACF8715}"/>
          </ac:spMkLst>
        </pc:spChg>
        <pc:spChg chg="add mod">
          <ac:chgData name="Orsini, Massimiliano" userId="S::morsini@deloitte.it::e23a083b-875a-4f48-ba50-2ebc8c6e203b" providerId="AD" clId="Web-{B85026F7-1692-D05A-595C-3E083A36AC30}" dt="2023-02-26T17:14:13.734" v="21" actId="1076"/>
          <ac:spMkLst>
            <pc:docMk/>
            <pc:sldMk cId="1340512310" sldId="276"/>
            <ac:spMk id="19" creationId="{BF4406C7-D230-19F0-E792-831C98310FE4}"/>
          </ac:spMkLst>
        </pc:spChg>
        <pc:spChg chg="add del mod">
          <ac:chgData name="Orsini, Massimiliano" userId="S::morsini@deloitte.it::e23a083b-875a-4f48-ba50-2ebc8c6e203b" providerId="AD" clId="Web-{B85026F7-1692-D05A-595C-3E083A36AC30}" dt="2023-02-26T17:14:07.233" v="20" actId="1076"/>
          <ac:spMkLst>
            <pc:docMk/>
            <pc:sldMk cId="1340512310" sldId="276"/>
            <ac:spMk id="20" creationId="{436BF297-27E7-A6C5-6F8F-5B5B59D73FE4}"/>
          </ac:spMkLst>
        </pc:spChg>
        <pc:spChg chg="add mod">
          <ac:chgData name="Orsini, Massimiliano" userId="S::morsini@deloitte.it::e23a083b-875a-4f48-ba50-2ebc8c6e203b" providerId="AD" clId="Web-{B85026F7-1692-D05A-595C-3E083A36AC30}" dt="2023-02-26T17:14:42.906" v="27" actId="1076"/>
          <ac:spMkLst>
            <pc:docMk/>
            <pc:sldMk cId="1340512310" sldId="276"/>
            <ac:spMk id="29" creationId="{61B7418D-25CC-7CFB-7F48-72BBAB8D25E8}"/>
          </ac:spMkLst>
        </pc:spChg>
        <pc:spChg chg="add mod">
          <ac:chgData name="Orsini, Massimiliano" userId="S::morsini@deloitte.it::e23a083b-875a-4f48-ba50-2ebc8c6e203b" providerId="AD" clId="Web-{B85026F7-1692-D05A-595C-3E083A36AC30}" dt="2023-02-26T17:15:03.157" v="30" actId="1076"/>
          <ac:spMkLst>
            <pc:docMk/>
            <pc:sldMk cId="1340512310" sldId="276"/>
            <ac:spMk id="30" creationId="{4C4DB327-AB61-A8B3-CD96-B52C4FF84286}"/>
          </ac:spMkLst>
        </pc:spChg>
      </pc:sldChg>
      <pc:sldChg chg="addSp delSp modSp">
        <pc:chgData name="Orsini, Massimiliano" userId="S::morsini@deloitte.it::e23a083b-875a-4f48-ba50-2ebc8c6e203b" providerId="AD" clId="Web-{B85026F7-1692-D05A-595C-3E083A36AC30}" dt="2023-02-26T17:16:07.252" v="47" actId="1076"/>
        <pc:sldMkLst>
          <pc:docMk/>
          <pc:sldMk cId="1783596213" sldId="277"/>
        </pc:sldMkLst>
        <pc:spChg chg="add mod">
          <ac:chgData name="Orsini, Massimiliano" userId="S::morsini@deloitte.it::e23a083b-875a-4f48-ba50-2ebc8c6e203b" providerId="AD" clId="Web-{B85026F7-1692-D05A-595C-3E083A36AC30}" dt="2023-02-26T17:16:07.252" v="47" actId="1076"/>
          <ac:spMkLst>
            <pc:docMk/>
            <pc:sldMk cId="1783596213" sldId="277"/>
            <ac:spMk id="14" creationId="{29F9BDDC-E292-3511-2BC5-EBE8A788DD5C}"/>
          </ac:spMkLst>
        </pc:spChg>
        <pc:spChg chg="add mod">
          <ac:chgData name="Orsini, Massimiliano" userId="S::morsini@deloitte.it::e23a083b-875a-4f48-ba50-2ebc8c6e203b" providerId="AD" clId="Web-{B85026F7-1692-D05A-595C-3E083A36AC30}" dt="2023-02-26T17:15:38.720" v="38" actId="1076"/>
          <ac:spMkLst>
            <pc:docMk/>
            <pc:sldMk cId="1783596213" sldId="277"/>
            <ac:spMk id="15" creationId="{29F9BDDC-E292-3511-2BC5-EBE8A788DD5C}"/>
          </ac:spMkLst>
        </pc:spChg>
        <pc:spChg chg="add mod">
          <ac:chgData name="Orsini, Massimiliano" userId="S::morsini@deloitte.it::e23a083b-875a-4f48-ba50-2ebc8c6e203b" providerId="AD" clId="Web-{B85026F7-1692-D05A-595C-3E083A36AC30}" dt="2023-02-26T17:15:23.392" v="35" actId="1076"/>
          <ac:spMkLst>
            <pc:docMk/>
            <pc:sldMk cId="1783596213" sldId="277"/>
            <ac:spMk id="16" creationId="{29F9BDDC-E292-3511-2BC5-EBE8A788DD5C}"/>
          </ac:spMkLst>
        </pc:spChg>
        <pc:spChg chg="add mod">
          <ac:chgData name="Orsini, Massimiliano" userId="S::morsini@deloitte.it::e23a083b-875a-4f48-ba50-2ebc8c6e203b" providerId="AD" clId="Web-{B85026F7-1692-D05A-595C-3E083A36AC30}" dt="2023-02-26T17:15:50.158" v="42" actId="1076"/>
          <ac:spMkLst>
            <pc:docMk/>
            <pc:sldMk cId="1783596213" sldId="277"/>
            <ac:spMk id="17" creationId="{29F9BDDC-E292-3511-2BC5-EBE8A788DD5C}"/>
          </ac:spMkLst>
        </pc:spChg>
        <pc:spChg chg="add del">
          <ac:chgData name="Orsini, Massimiliano" userId="S::morsini@deloitte.it::e23a083b-875a-4f48-ba50-2ebc8c6e203b" providerId="AD" clId="Web-{B85026F7-1692-D05A-595C-3E083A36AC30}" dt="2023-02-26T17:15:57.361" v="44"/>
          <ac:spMkLst>
            <pc:docMk/>
            <pc:sldMk cId="1783596213" sldId="277"/>
            <ac:spMk id="18" creationId="{29F9BDDC-E292-3511-2BC5-EBE8A788DD5C}"/>
          </ac:spMkLst>
        </pc:spChg>
      </pc:sldChg>
    </pc:docChg>
  </pc:docChgLst>
  <pc:docChgLst>
    <pc:chgData name="Orsini, Massimiliano" userId="S::morsini@deloitte.it::e23a083b-875a-4f48-ba50-2ebc8c6e203b" providerId="AD" clId="Web-{74A19CAB-EE6E-3FB6-FDB6-B9ECB132E52C}"/>
    <pc:docChg chg="addSld delSld modSld sldOrd">
      <pc:chgData name="Orsini, Massimiliano" userId="S::morsini@deloitte.it::e23a083b-875a-4f48-ba50-2ebc8c6e203b" providerId="AD" clId="Web-{74A19CAB-EE6E-3FB6-FDB6-B9ECB132E52C}" dt="2023-02-24T18:29:53.143" v="713" actId="1076"/>
      <pc:docMkLst>
        <pc:docMk/>
      </pc:docMkLst>
      <pc:sldChg chg="addSp delSp modSp">
        <pc:chgData name="Orsini, Massimiliano" userId="S::morsini@deloitte.it::e23a083b-875a-4f48-ba50-2ebc8c6e203b" providerId="AD" clId="Web-{74A19CAB-EE6E-3FB6-FDB6-B9ECB132E52C}" dt="2023-02-24T17:00:23.316" v="443" actId="20577"/>
        <pc:sldMkLst>
          <pc:docMk/>
          <pc:sldMk cId="3368893696" sldId="256"/>
        </pc:sldMkLst>
        <pc:spChg chg="mod">
          <ac:chgData name="Orsini, Massimiliano" userId="S::morsini@deloitte.it::e23a083b-875a-4f48-ba50-2ebc8c6e203b" providerId="AD" clId="Web-{74A19CAB-EE6E-3FB6-FDB6-B9ECB132E52C}" dt="2023-02-24T17:00:23.316" v="443" actId="20577"/>
          <ac:spMkLst>
            <pc:docMk/>
            <pc:sldMk cId="3368893696" sldId="256"/>
            <ac:spMk id="3" creationId="{2F4BC1B0-102D-4090-902E-809867B868F2}"/>
          </ac:spMkLst>
        </pc:spChg>
        <pc:spChg chg="mod">
          <ac:chgData name="Orsini, Massimiliano" userId="S::morsini@deloitte.it::e23a083b-875a-4f48-ba50-2ebc8c6e203b" providerId="AD" clId="Web-{74A19CAB-EE6E-3FB6-FDB6-B9ECB132E52C}" dt="2023-02-24T16:38:10.615" v="211" actId="20577"/>
          <ac:spMkLst>
            <pc:docMk/>
            <pc:sldMk cId="3368893696" sldId="256"/>
            <ac:spMk id="4" creationId="{2ACD62D0-839A-4A5A-9711-271A568F99AA}"/>
          </ac:spMkLst>
        </pc:spChg>
        <pc:graphicFrameChg chg="modGraphic">
          <ac:chgData name="Orsini, Massimiliano" userId="S::morsini@deloitte.it::e23a083b-875a-4f48-ba50-2ebc8c6e203b" providerId="AD" clId="Web-{74A19CAB-EE6E-3FB6-FDB6-B9ECB132E52C}" dt="2023-02-24T16:37:39.176" v="203" actId="20577"/>
          <ac:graphicFrameMkLst>
            <pc:docMk/>
            <pc:sldMk cId="3368893696" sldId="256"/>
            <ac:graphicFrameMk id="2" creationId="{E2EA37B7-AAF6-4879-AC75-AFB17DC01CB2}"/>
          </ac:graphicFrameMkLst>
        </pc:graphicFrameChg>
        <pc:graphicFrameChg chg="add del">
          <ac:chgData name="Orsini, Massimiliano" userId="S::morsini@deloitte.it::e23a083b-875a-4f48-ba50-2ebc8c6e203b" providerId="AD" clId="Web-{74A19CAB-EE6E-3FB6-FDB6-B9ECB132E52C}" dt="2023-02-24T16:38:49.194" v="215"/>
          <ac:graphicFrameMkLst>
            <pc:docMk/>
            <pc:sldMk cId="3368893696" sldId="256"/>
            <ac:graphicFrameMk id="9" creationId="{B93C94BF-7E01-4AFA-BE73-64C311114392}"/>
          </ac:graphicFrameMkLst>
        </pc:graphicFrameChg>
      </pc:sldChg>
      <pc:sldChg chg="modSp">
        <pc:chgData name="Orsini, Massimiliano" userId="S::morsini@deloitte.it::e23a083b-875a-4f48-ba50-2ebc8c6e203b" providerId="AD" clId="Web-{74A19CAB-EE6E-3FB6-FDB6-B9ECB132E52C}" dt="2023-02-24T17:32:37.523" v="591" actId="20577"/>
        <pc:sldMkLst>
          <pc:docMk/>
          <pc:sldMk cId="1613597857" sldId="257"/>
        </pc:sldMkLst>
        <pc:spChg chg="mod">
          <ac:chgData name="Orsini, Massimiliano" userId="S::morsini@deloitte.it::e23a083b-875a-4f48-ba50-2ebc8c6e203b" providerId="AD" clId="Web-{74A19CAB-EE6E-3FB6-FDB6-B9ECB132E52C}" dt="2023-02-24T17:11:41.388" v="572" actId="20577"/>
          <ac:spMkLst>
            <pc:docMk/>
            <pc:sldMk cId="1613597857" sldId="257"/>
            <ac:spMk id="3" creationId="{75CE4EC3-A2E4-42D8-AE81-931608669C41}"/>
          </ac:spMkLst>
        </pc:spChg>
        <pc:spChg chg="mod">
          <ac:chgData name="Orsini, Massimiliano" userId="S::morsini@deloitte.it::e23a083b-875a-4f48-ba50-2ebc8c6e203b" providerId="AD" clId="Web-{74A19CAB-EE6E-3FB6-FDB6-B9ECB132E52C}" dt="2023-02-24T17:09:42.915" v="539" actId="20577"/>
          <ac:spMkLst>
            <pc:docMk/>
            <pc:sldMk cId="1613597857" sldId="257"/>
            <ac:spMk id="4" creationId="{05A614C6-2D41-4DA4-B55D-7F65BC89BD42}"/>
          </ac:spMkLst>
        </pc:spChg>
        <pc:graphicFrameChg chg="modGraphic">
          <ac:chgData name="Orsini, Massimiliano" userId="S::morsini@deloitte.it::e23a083b-875a-4f48-ba50-2ebc8c6e203b" providerId="AD" clId="Web-{74A19CAB-EE6E-3FB6-FDB6-B9ECB132E52C}" dt="2023-02-24T17:32:37.523" v="591" actId="20577"/>
          <ac:graphicFrameMkLst>
            <pc:docMk/>
            <pc:sldMk cId="1613597857" sldId="257"/>
            <ac:graphicFrameMk id="2" creationId="{2097C650-0F7A-4176-B182-2E84211284E4}"/>
          </ac:graphicFrameMkLst>
        </pc:graphicFrameChg>
      </pc:sldChg>
      <pc:sldChg chg="del">
        <pc:chgData name="Orsini, Massimiliano" userId="S::morsini@deloitte.it::e23a083b-875a-4f48-ba50-2ebc8c6e203b" providerId="AD" clId="Web-{74A19CAB-EE6E-3FB6-FDB6-B9ECB132E52C}" dt="2023-02-24T16:41:17.215" v="220"/>
        <pc:sldMkLst>
          <pc:docMk/>
          <pc:sldMk cId="787476575" sldId="273"/>
        </pc:sldMkLst>
      </pc:sldChg>
      <pc:sldChg chg="addSp delSp modSp">
        <pc:chgData name="Orsini, Massimiliano" userId="S::morsini@deloitte.it::e23a083b-875a-4f48-ba50-2ebc8c6e203b" providerId="AD" clId="Web-{74A19CAB-EE6E-3FB6-FDB6-B9ECB132E52C}" dt="2023-02-24T18:29:53.143" v="713" actId="1076"/>
        <pc:sldMkLst>
          <pc:docMk/>
          <pc:sldMk cId="1340512310" sldId="276"/>
        </pc:sldMkLst>
        <pc:spChg chg="mod">
          <ac:chgData name="Orsini, Massimiliano" userId="S::morsini@deloitte.it::e23a083b-875a-4f48-ba50-2ebc8c6e203b" providerId="AD" clId="Web-{74A19CAB-EE6E-3FB6-FDB6-B9ECB132E52C}" dt="2023-02-24T17:00:50.832" v="452" actId="20577"/>
          <ac:spMkLst>
            <pc:docMk/>
            <pc:sldMk cId="1340512310" sldId="276"/>
            <ac:spMk id="3" creationId="{0327B7BE-C76D-4232-80C8-7C00D9365EB3}"/>
          </ac:spMkLst>
        </pc:spChg>
        <pc:spChg chg="mod">
          <ac:chgData name="Orsini, Massimiliano" userId="S::morsini@deloitte.it::e23a083b-875a-4f48-ba50-2ebc8c6e203b" providerId="AD" clId="Web-{74A19CAB-EE6E-3FB6-FDB6-B9ECB132E52C}" dt="2023-02-24T17:00:34.300" v="450" actId="20577"/>
          <ac:spMkLst>
            <pc:docMk/>
            <pc:sldMk cId="1340512310" sldId="276"/>
            <ac:spMk id="4" creationId="{530AAA38-A764-4BB8-976D-787B7721CEA6}"/>
          </ac:spMkLst>
        </pc:spChg>
        <pc:spChg chg="del mod">
          <ac:chgData name="Orsini, Massimiliano" userId="S::morsini@deloitte.it::e23a083b-875a-4f48-ba50-2ebc8c6e203b" providerId="AD" clId="Web-{74A19CAB-EE6E-3FB6-FDB6-B9ECB132E52C}" dt="2023-02-24T16:57:30.247" v="408"/>
          <ac:spMkLst>
            <pc:docMk/>
            <pc:sldMk cId="1340512310" sldId="276"/>
            <ac:spMk id="8" creationId="{A2123F5B-82F0-46F8-9E2D-09A381EE1204}"/>
          </ac:spMkLst>
        </pc:spChg>
        <pc:spChg chg="add mod">
          <ac:chgData name="Orsini, Massimiliano" userId="S::morsini@deloitte.it::e23a083b-875a-4f48-ba50-2ebc8c6e203b" providerId="AD" clId="Web-{74A19CAB-EE6E-3FB6-FDB6-B9ECB132E52C}" dt="2023-02-24T18:29:20.971" v="706" actId="1076"/>
          <ac:spMkLst>
            <pc:docMk/>
            <pc:sldMk cId="1340512310" sldId="276"/>
            <ac:spMk id="14" creationId="{3661ED70-01A6-5687-7067-4D7D8DE85FA2}"/>
          </ac:spMkLst>
        </pc:spChg>
        <pc:spChg chg="add mod">
          <ac:chgData name="Orsini, Massimiliano" userId="S::morsini@deloitte.it::e23a083b-875a-4f48-ba50-2ebc8c6e203b" providerId="AD" clId="Web-{74A19CAB-EE6E-3FB6-FDB6-B9ECB132E52C}" dt="2023-02-24T18:29:42.893" v="711" actId="1076"/>
          <ac:spMkLst>
            <pc:docMk/>
            <pc:sldMk cId="1340512310" sldId="276"/>
            <ac:spMk id="15" creationId="{606AA128-028A-C866-3610-8085EE17D038}"/>
          </ac:spMkLst>
        </pc:spChg>
        <pc:spChg chg="add mod">
          <ac:chgData name="Orsini, Massimiliano" userId="S::morsini@deloitte.it::e23a083b-875a-4f48-ba50-2ebc8c6e203b" providerId="AD" clId="Web-{74A19CAB-EE6E-3FB6-FDB6-B9ECB132E52C}" dt="2023-02-24T18:29:53.143" v="713" actId="1076"/>
          <ac:spMkLst>
            <pc:docMk/>
            <pc:sldMk cId="1340512310" sldId="276"/>
            <ac:spMk id="16" creationId="{7B65C22C-66DF-94F8-25B3-BA403DF57222}"/>
          </ac:spMkLst>
        </pc:spChg>
        <pc:spChg chg="del mod">
          <ac:chgData name="Orsini, Massimiliano" userId="S::morsini@deloitte.it::e23a083b-875a-4f48-ba50-2ebc8c6e203b" providerId="AD" clId="Web-{74A19CAB-EE6E-3FB6-FDB6-B9ECB132E52C}" dt="2023-02-24T17:00:53.285" v="458"/>
          <ac:spMkLst>
            <pc:docMk/>
            <pc:sldMk cId="1340512310" sldId="276"/>
            <ac:spMk id="18" creationId="{34CC8428-2978-4EEA-90A8-9AF1F3D848F3}"/>
          </ac:spMkLst>
        </pc:spChg>
        <pc:spChg chg="del mod">
          <ac:chgData name="Orsini, Massimiliano" userId="S::morsini@deloitte.it::e23a083b-875a-4f48-ba50-2ebc8c6e203b" providerId="AD" clId="Web-{74A19CAB-EE6E-3FB6-FDB6-B9ECB132E52C}" dt="2023-02-24T17:00:53.285" v="457"/>
          <ac:spMkLst>
            <pc:docMk/>
            <pc:sldMk cId="1340512310" sldId="276"/>
            <ac:spMk id="19" creationId="{FBDFED88-83A9-490D-923D-6C77C7211B23}"/>
          </ac:spMkLst>
        </pc:spChg>
        <pc:spChg chg="del mod">
          <ac:chgData name="Orsini, Massimiliano" userId="S::morsini@deloitte.it::e23a083b-875a-4f48-ba50-2ebc8c6e203b" providerId="AD" clId="Web-{74A19CAB-EE6E-3FB6-FDB6-B9ECB132E52C}" dt="2023-02-24T17:01:05.130" v="462"/>
          <ac:spMkLst>
            <pc:docMk/>
            <pc:sldMk cId="1340512310" sldId="276"/>
            <ac:spMk id="20" creationId="{9B8CED67-AA72-40C7-B566-6C81D0086BD8}"/>
          </ac:spMkLst>
        </pc:spChg>
        <pc:spChg chg="del mod">
          <ac:chgData name="Orsini, Massimiliano" userId="S::morsini@deloitte.it::e23a083b-875a-4f48-ba50-2ebc8c6e203b" providerId="AD" clId="Web-{74A19CAB-EE6E-3FB6-FDB6-B9ECB132E52C}" dt="2023-02-24T17:00:53.285" v="456"/>
          <ac:spMkLst>
            <pc:docMk/>
            <pc:sldMk cId="1340512310" sldId="276"/>
            <ac:spMk id="21" creationId="{8ACA1DBF-7F3C-4D4A-956C-5CC5AB3847F9}"/>
          </ac:spMkLst>
        </pc:spChg>
        <pc:spChg chg="del mod">
          <ac:chgData name="Orsini, Massimiliano" userId="S::morsini@deloitte.it::e23a083b-875a-4f48-ba50-2ebc8c6e203b" providerId="AD" clId="Web-{74A19CAB-EE6E-3FB6-FDB6-B9ECB132E52C}" dt="2023-02-24T17:00:53.285" v="455"/>
          <ac:spMkLst>
            <pc:docMk/>
            <pc:sldMk cId="1340512310" sldId="276"/>
            <ac:spMk id="22" creationId="{E5BD6054-5B17-4B72-B83A-4F85416E8110}"/>
          </ac:spMkLst>
        </pc:spChg>
        <pc:spChg chg="del">
          <ac:chgData name="Orsini, Massimiliano" userId="S::morsini@deloitte.it::e23a083b-875a-4f48-ba50-2ebc8c6e203b" providerId="AD" clId="Web-{74A19CAB-EE6E-3FB6-FDB6-B9ECB132E52C}" dt="2023-02-24T16:57:30.247" v="406"/>
          <ac:spMkLst>
            <pc:docMk/>
            <pc:sldMk cId="1340512310" sldId="276"/>
            <ac:spMk id="29" creationId="{49BAEFBE-0E5F-4EA4-9D22-8057660E4000}"/>
          </ac:spMkLst>
        </pc:spChg>
        <pc:spChg chg="del mod">
          <ac:chgData name="Orsini, Massimiliano" userId="S::morsini@deloitte.it::e23a083b-875a-4f48-ba50-2ebc8c6e203b" providerId="AD" clId="Web-{74A19CAB-EE6E-3FB6-FDB6-B9ECB132E52C}" dt="2023-02-24T17:00:53.285" v="453"/>
          <ac:spMkLst>
            <pc:docMk/>
            <pc:sldMk cId="1340512310" sldId="276"/>
            <ac:spMk id="30" creationId="{64884A72-3169-48FB-B34D-399F79D5F659}"/>
          </ac:spMkLst>
        </pc:spChg>
        <pc:spChg chg="mod">
          <ac:chgData name="Orsini, Massimiliano" userId="S::morsini@deloitte.it::e23a083b-875a-4f48-ba50-2ebc8c6e203b" providerId="AD" clId="Web-{74A19CAB-EE6E-3FB6-FDB6-B9ECB132E52C}" dt="2023-02-24T17:02:46.992" v="483" actId="14100"/>
          <ac:spMkLst>
            <pc:docMk/>
            <pc:sldMk cId="1340512310" sldId="276"/>
            <ac:spMk id="89" creationId="{B3F0F36A-495F-4BD4-02CA-C536F9273BE7}"/>
          </ac:spMkLst>
        </pc:spChg>
        <pc:spChg chg="mod">
          <ac:chgData name="Orsini, Massimiliano" userId="S::morsini@deloitte.it::e23a083b-875a-4f48-ba50-2ebc8c6e203b" providerId="AD" clId="Web-{74A19CAB-EE6E-3FB6-FDB6-B9ECB132E52C}" dt="2023-02-24T17:02:23.523" v="475" actId="20577"/>
          <ac:spMkLst>
            <pc:docMk/>
            <pc:sldMk cId="1340512310" sldId="276"/>
            <ac:spMk id="90" creationId="{49D60527-DE51-1BC4-3FB6-9D9C8C02D33A}"/>
          </ac:spMkLst>
        </pc:spChg>
        <pc:spChg chg="mod">
          <ac:chgData name="Orsini, Massimiliano" userId="S::morsini@deloitte.it::e23a083b-875a-4f48-ba50-2ebc8c6e203b" providerId="AD" clId="Web-{74A19CAB-EE6E-3FB6-FDB6-B9ECB132E52C}" dt="2023-02-24T17:02:39.633" v="481" actId="20577"/>
          <ac:spMkLst>
            <pc:docMk/>
            <pc:sldMk cId="1340512310" sldId="276"/>
            <ac:spMk id="91" creationId="{A4F7174F-763A-C6B0-F414-38C595C391BC}"/>
          </ac:spMkLst>
        </pc:spChg>
        <pc:spChg chg="mod">
          <ac:chgData name="Orsini, Massimiliano" userId="S::morsini@deloitte.it::e23a083b-875a-4f48-ba50-2ebc8c6e203b" providerId="AD" clId="Web-{74A19CAB-EE6E-3FB6-FDB6-B9ECB132E52C}" dt="2023-02-24T17:07:06.363" v="522"/>
          <ac:spMkLst>
            <pc:docMk/>
            <pc:sldMk cId="1340512310" sldId="276"/>
            <ac:spMk id="94" creationId="{2FA02D43-8C60-1F73-9A3D-2FAD6C1CC071}"/>
          </ac:spMkLst>
        </pc:spChg>
        <pc:spChg chg="mod">
          <ac:chgData name="Orsini, Massimiliano" userId="S::morsini@deloitte.it::e23a083b-875a-4f48-ba50-2ebc8c6e203b" providerId="AD" clId="Web-{74A19CAB-EE6E-3FB6-FDB6-B9ECB132E52C}" dt="2023-02-24T17:06:24.486" v="521" actId="20577"/>
          <ac:spMkLst>
            <pc:docMk/>
            <pc:sldMk cId="1340512310" sldId="276"/>
            <ac:spMk id="98" creationId="{A270EDF9-0086-434F-677B-560C0AA0695C}"/>
          </ac:spMkLst>
        </pc:spChg>
        <pc:spChg chg="mod">
          <ac:chgData name="Orsini, Massimiliano" userId="S::morsini@deloitte.it::e23a083b-875a-4f48-ba50-2ebc8c6e203b" providerId="AD" clId="Web-{74A19CAB-EE6E-3FB6-FDB6-B9ECB132E52C}" dt="2023-02-24T17:05:54.829" v="519" actId="20577"/>
          <ac:spMkLst>
            <pc:docMk/>
            <pc:sldMk cId="1340512310" sldId="276"/>
            <ac:spMk id="99" creationId="{CCA229F1-6340-2FAC-D6A3-D77F08D3E6A0}"/>
          </ac:spMkLst>
        </pc:spChg>
        <pc:spChg chg="del">
          <ac:chgData name="Orsini, Massimiliano" userId="S::morsini@deloitte.it::e23a083b-875a-4f48-ba50-2ebc8c6e203b" providerId="AD" clId="Web-{74A19CAB-EE6E-3FB6-FDB6-B9ECB132E52C}" dt="2023-02-24T17:02:53.667" v="484"/>
          <ac:spMkLst>
            <pc:docMk/>
            <pc:sldMk cId="1340512310" sldId="276"/>
            <ac:spMk id="101" creationId="{B198A2DB-B67F-4B66-DA5C-2FD098D63EE9}"/>
          </ac:spMkLst>
        </pc:spChg>
        <pc:spChg chg="del">
          <ac:chgData name="Orsini, Massimiliano" userId="S::morsini@deloitte.it::e23a083b-875a-4f48-ba50-2ebc8c6e203b" providerId="AD" clId="Web-{74A19CAB-EE6E-3FB6-FDB6-B9ECB132E52C}" dt="2023-02-24T17:02:15.054" v="473"/>
          <ac:spMkLst>
            <pc:docMk/>
            <pc:sldMk cId="1340512310" sldId="276"/>
            <ac:spMk id="102" creationId="{C1102846-7EAF-8247-D8BB-1100AC499B7D}"/>
          </ac:spMkLst>
        </pc:spChg>
        <pc:spChg chg="mod">
          <ac:chgData name="Orsini, Massimiliano" userId="S::morsini@deloitte.it::e23a083b-875a-4f48-ba50-2ebc8c6e203b" providerId="AD" clId="Web-{74A19CAB-EE6E-3FB6-FDB6-B9ECB132E52C}" dt="2023-02-24T17:08:50.632" v="528"/>
          <ac:spMkLst>
            <pc:docMk/>
            <pc:sldMk cId="1340512310" sldId="276"/>
            <ac:spMk id="143" creationId="{2D8D3143-6B9A-FF44-BF5B-C3175829BC2E}"/>
          </ac:spMkLst>
        </pc:spChg>
        <pc:spChg chg="mod">
          <ac:chgData name="Orsini, Massimiliano" userId="S::morsini@deloitte.it::e23a083b-875a-4f48-ba50-2ebc8c6e203b" providerId="AD" clId="Web-{74A19CAB-EE6E-3FB6-FDB6-B9ECB132E52C}" dt="2023-02-24T17:08:50.647" v="529"/>
          <ac:spMkLst>
            <pc:docMk/>
            <pc:sldMk cId="1340512310" sldId="276"/>
            <ac:spMk id="144" creationId="{2D439D2B-6819-2DA4-8AF9-80F01122F2F7}"/>
          </ac:spMkLst>
        </pc:spChg>
        <pc:grpChg chg="del mod">
          <ac:chgData name="Orsini, Massimiliano" userId="S::morsini@deloitte.it::e23a083b-875a-4f48-ba50-2ebc8c6e203b" providerId="AD" clId="Web-{74A19CAB-EE6E-3FB6-FDB6-B9ECB132E52C}" dt="2023-02-24T17:00:53.285" v="459"/>
          <ac:grpSpMkLst>
            <pc:docMk/>
            <pc:sldMk cId="1340512310" sldId="276"/>
            <ac:grpSpMk id="15" creationId="{EFFB8116-8092-487E-A7A9-B79741A47630}"/>
          </ac:grpSpMkLst>
        </pc:grpChg>
        <pc:grpChg chg="del mod">
          <ac:chgData name="Orsini, Massimiliano" userId="S::morsini@deloitte.it::e23a083b-875a-4f48-ba50-2ebc8c6e203b" providerId="AD" clId="Web-{74A19CAB-EE6E-3FB6-FDB6-B9ECB132E52C}" dt="2023-02-24T17:00:53.285" v="454"/>
          <ac:grpSpMkLst>
            <pc:docMk/>
            <pc:sldMk cId="1340512310" sldId="276"/>
            <ac:grpSpMk id="23" creationId="{3EF79032-7560-4E2E-8611-4540880BE1B5}"/>
          </ac:grpSpMkLst>
        </pc:grpChg>
        <pc:grpChg chg="del">
          <ac:chgData name="Orsini, Massimiliano" userId="S::morsini@deloitte.it::e23a083b-875a-4f48-ba50-2ebc8c6e203b" providerId="AD" clId="Web-{74A19CAB-EE6E-3FB6-FDB6-B9ECB132E52C}" dt="2023-02-24T17:02:15.054" v="473"/>
          <ac:grpSpMkLst>
            <pc:docMk/>
            <pc:sldMk cId="1340512310" sldId="276"/>
            <ac:grpSpMk id="100" creationId="{D2CC68D6-850D-DE4C-A0A5-98A481AE0359}"/>
          </ac:grpSpMkLst>
        </pc:grpChg>
        <pc:grpChg chg="add mod">
          <ac:chgData name="Orsini, Massimiliano" userId="S::morsini@deloitte.it::e23a083b-875a-4f48-ba50-2ebc8c6e203b" providerId="AD" clId="Web-{74A19CAB-EE6E-3FB6-FDB6-B9ECB132E52C}" dt="2023-02-24T17:02:03.928" v="470" actId="1076"/>
          <ac:grpSpMkLst>
            <pc:docMk/>
            <pc:sldMk cId="1340512310" sldId="276"/>
            <ac:grpSpMk id="103" creationId="{CC60729A-935D-EDA5-3EDB-2230A7AE7CBD}"/>
          </ac:grpSpMkLst>
        </pc:grpChg>
        <pc:grpChg chg="add mod">
          <ac:chgData name="Orsini, Massimiliano" userId="S::morsini@deloitte.it::e23a083b-875a-4f48-ba50-2ebc8c6e203b" providerId="AD" clId="Web-{74A19CAB-EE6E-3FB6-FDB6-B9ECB132E52C}" dt="2023-02-24T17:03:23.308" v="491" actId="1076"/>
          <ac:grpSpMkLst>
            <pc:docMk/>
            <pc:sldMk cId="1340512310" sldId="276"/>
            <ac:grpSpMk id="112" creationId="{CA6E68B9-1C83-7444-9B0E-A2B276526B81}"/>
          </ac:grpSpMkLst>
        </pc:grpChg>
        <pc:grpChg chg="add mod">
          <ac:chgData name="Orsini, Massimiliano" userId="S::morsini@deloitte.it::e23a083b-875a-4f48-ba50-2ebc8c6e203b" providerId="AD" clId="Web-{74A19CAB-EE6E-3FB6-FDB6-B9ECB132E52C}" dt="2023-02-24T17:09:03.039" v="531" actId="1076"/>
          <ac:grpSpMkLst>
            <pc:docMk/>
            <pc:sldMk cId="1340512310" sldId="276"/>
            <ac:grpSpMk id="145" creationId="{94B6A204-06A6-BE92-6898-D78D3FD1A276}"/>
          </ac:grpSpMkLst>
        </pc:grpChg>
        <pc:graphicFrameChg chg="mod modGraphic">
          <ac:chgData name="Orsini, Massimiliano" userId="S::morsini@deloitte.it::e23a083b-875a-4f48-ba50-2ebc8c6e203b" providerId="AD" clId="Web-{74A19CAB-EE6E-3FB6-FDB6-B9ECB132E52C}" dt="2023-02-24T17:03:44.919" v="493" actId="1076"/>
          <ac:graphicFrameMkLst>
            <pc:docMk/>
            <pc:sldMk cId="1340512310" sldId="276"/>
            <ac:graphicFrameMk id="2" creationId="{ED8155A2-6D3F-4376-8DF6-F125FE881DED}"/>
          </ac:graphicFrameMkLst>
        </pc:graphicFrameChg>
        <pc:picChg chg="del">
          <ac:chgData name="Orsini, Massimiliano" userId="S::morsini@deloitte.it::e23a083b-875a-4f48-ba50-2ebc8c6e203b" providerId="AD" clId="Web-{74A19CAB-EE6E-3FB6-FDB6-B9ECB132E52C}" dt="2023-02-24T16:41:26.496" v="223"/>
          <ac:picMkLst>
            <pc:docMk/>
            <pc:sldMk cId="1340512310" sldId="276"/>
            <ac:picMk id="6" creationId="{E7D76406-2751-4E84-A873-ED6CDFA591DD}"/>
          </ac:picMkLst>
        </pc:picChg>
        <pc:picChg chg="del">
          <ac:chgData name="Orsini, Massimiliano" userId="S::morsini@deloitte.it::e23a083b-875a-4f48-ba50-2ebc8c6e203b" providerId="AD" clId="Web-{74A19CAB-EE6E-3FB6-FDB6-B9ECB132E52C}" dt="2023-02-24T16:57:30.247" v="409"/>
          <ac:picMkLst>
            <pc:docMk/>
            <pc:sldMk cId="1340512310" sldId="276"/>
            <ac:picMk id="7" creationId="{164D304F-FA29-4018-82BB-18A82AFB7E51}"/>
          </ac:picMkLst>
        </pc:picChg>
        <pc:cxnChg chg="del">
          <ac:chgData name="Orsini, Massimiliano" userId="S::morsini@deloitte.it::e23a083b-875a-4f48-ba50-2ebc8c6e203b" providerId="AD" clId="Web-{74A19CAB-EE6E-3FB6-FDB6-B9ECB132E52C}" dt="2023-02-24T16:57:30.247" v="407"/>
          <ac:cxnSpMkLst>
            <pc:docMk/>
            <pc:sldMk cId="1340512310" sldId="276"/>
            <ac:cxnSpMk id="26" creationId="{BBB41BA9-54C9-4FC4-898D-AD3690805ABB}"/>
          </ac:cxnSpMkLst>
        </pc:cxnChg>
      </pc:sldChg>
      <pc:sldChg chg="addSp delSp modSp">
        <pc:chgData name="Orsini, Massimiliano" userId="S::morsini@deloitte.it::e23a083b-875a-4f48-ba50-2ebc8c6e203b" providerId="AD" clId="Web-{74A19CAB-EE6E-3FB6-FDB6-B9ECB132E52C}" dt="2023-02-24T18:29:35.831" v="709"/>
        <pc:sldMkLst>
          <pc:docMk/>
          <pc:sldMk cId="1783596213" sldId="277"/>
        </pc:sldMkLst>
        <pc:spChg chg="mod">
          <ac:chgData name="Orsini, Massimiliano" userId="S::morsini@deloitte.it::e23a083b-875a-4f48-ba50-2ebc8c6e203b" providerId="AD" clId="Web-{74A19CAB-EE6E-3FB6-FDB6-B9ECB132E52C}" dt="2023-02-24T17:09:54.087" v="547" actId="20577"/>
          <ac:spMkLst>
            <pc:docMk/>
            <pc:sldMk cId="1783596213" sldId="277"/>
            <ac:spMk id="4" creationId="{05A614C6-2D41-4DA4-B55D-7F65BC89BD42}"/>
          </ac:spMkLst>
        </pc:spChg>
        <pc:spChg chg="del">
          <ac:chgData name="Orsini, Massimiliano" userId="S::morsini@deloitte.it::e23a083b-875a-4f48-ba50-2ebc8c6e203b" providerId="AD" clId="Web-{74A19CAB-EE6E-3FB6-FDB6-B9ECB132E52C}" dt="2023-02-24T18:23:53.103" v="605"/>
          <ac:spMkLst>
            <pc:docMk/>
            <pc:sldMk cId="1783596213" sldId="277"/>
            <ac:spMk id="15" creationId="{5E7F4DC5-22B4-4FBB-A213-BA3AC4A0CB1B}"/>
          </ac:spMkLst>
        </pc:spChg>
        <pc:spChg chg="del">
          <ac:chgData name="Orsini, Massimiliano" userId="S::morsini@deloitte.it::e23a083b-875a-4f48-ba50-2ebc8c6e203b" providerId="AD" clId="Web-{74A19CAB-EE6E-3FB6-FDB6-B9ECB132E52C}" dt="2023-02-24T18:23:53.103" v="603"/>
          <ac:spMkLst>
            <pc:docMk/>
            <pc:sldMk cId="1783596213" sldId="277"/>
            <ac:spMk id="35" creationId="{66D3DB73-9830-4923-A7A1-102623268773}"/>
          </ac:spMkLst>
        </pc:spChg>
        <pc:spChg chg="del">
          <ac:chgData name="Orsini, Massimiliano" userId="S::morsini@deloitte.it::e23a083b-875a-4f48-ba50-2ebc8c6e203b" providerId="AD" clId="Web-{74A19CAB-EE6E-3FB6-FDB6-B9ECB132E52C}" dt="2023-02-24T18:23:53.103" v="602"/>
          <ac:spMkLst>
            <pc:docMk/>
            <pc:sldMk cId="1783596213" sldId="277"/>
            <ac:spMk id="36" creationId="{E65808F5-030F-4B90-8214-93B8339C26DC}"/>
          </ac:spMkLst>
        </pc:spChg>
        <pc:spChg chg="del">
          <ac:chgData name="Orsini, Massimiliano" userId="S::morsini@deloitte.it::e23a083b-875a-4f48-ba50-2ebc8c6e203b" providerId="AD" clId="Web-{74A19CAB-EE6E-3FB6-FDB6-B9ECB132E52C}" dt="2023-02-24T18:23:53.103" v="601"/>
          <ac:spMkLst>
            <pc:docMk/>
            <pc:sldMk cId="1783596213" sldId="277"/>
            <ac:spMk id="37" creationId="{280B6716-E3A5-48CA-A967-D55B173801A0}"/>
          </ac:spMkLst>
        </pc:spChg>
        <pc:spChg chg="del">
          <ac:chgData name="Orsini, Massimiliano" userId="S::morsini@deloitte.it::e23a083b-875a-4f48-ba50-2ebc8c6e203b" providerId="AD" clId="Web-{74A19CAB-EE6E-3FB6-FDB6-B9ECB132E52C}" dt="2023-02-24T18:23:53.103" v="600"/>
          <ac:spMkLst>
            <pc:docMk/>
            <pc:sldMk cId="1783596213" sldId="277"/>
            <ac:spMk id="38" creationId="{36D17D15-F7CD-461A-8026-002BF74B4F92}"/>
          </ac:spMkLst>
        </pc:spChg>
        <pc:spChg chg="del">
          <ac:chgData name="Orsini, Massimiliano" userId="S::morsini@deloitte.it::e23a083b-875a-4f48-ba50-2ebc8c6e203b" providerId="AD" clId="Web-{74A19CAB-EE6E-3FB6-FDB6-B9ECB132E52C}" dt="2023-02-24T18:23:53.103" v="599"/>
          <ac:spMkLst>
            <pc:docMk/>
            <pc:sldMk cId="1783596213" sldId="277"/>
            <ac:spMk id="39" creationId="{350968BE-6233-4EF5-A97E-0CCA3717BDC9}"/>
          </ac:spMkLst>
        </pc:spChg>
        <pc:spChg chg="del">
          <ac:chgData name="Orsini, Massimiliano" userId="S::morsini@deloitte.it::e23a083b-875a-4f48-ba50-2ebc8c6e203b" providerId="AD" clId="Web-{74A19CAB-EE6E-3FB6-FDB6-B9ECB132E52C}" dt="2023-02-24T18:23:53.103" v="597"/>
          <ac:spMkLst>
            <pc:docMk/>
            <pc:sldMk cId="1783596213" sldId="277"/>
            <ac:spMk id="44" creationId="{CED8E985-B88A-4615-A1CA-D45F7282E348}"/>
          </ac:spMkLst>
        </pc:spChg>
        <pc:spChg chg="del">
          <ac:chgData name="Orsini, Massimiliano" userId="S::morsini@deloitte.it::e23a083b-875a-4f48-ba50-2ebc8c6e203b" providerId="AD" clId="Web-{74A19CAB-EE6E-3FB6-FDB6-B9ECB132E52C}" dt="2023-02-24T18:23:53.103" v="596"/>
          <ac:spMkLst>
            <pc:docMk/>
            <pc:sldMk cId="1783596213" sldId="277"/>
            <ac:spMk id="45" creationId="{E56488A6-B727-44E0-A6B6-9FFEA6ED021C}"/>
          </ac:spMkLst>
        </pc:spChg>
        <pc:spChg chg="mod">
          <ac:chgData name="Orsini, Massimiliano" userId="S::morsini@deloitte.it::e23a083b-875a-4f48-ba50-2ebc8c6e203b" providerId="AD" clId="Web-{74A19CAB-EE6E-3FB6-FDB6-B9ECB132E52C}" dt="2023-02-24T18:28:04.641" v="687"/>
          <ac:spMkLst>
            <pc:docMk/>
            <pc:sldMk cId="1783596213" sldId="277"/>
            <ac:spMk id="63" creationId="{BB7C95DC-AE27-46FC-BD67-35102D9CBDFB}"/>
          </ac:spMkLst>
        </pc:spChg>
        <pc:spChg chg="mod">
          <ac:chgData name="Orsini, Massimiliano" userId="S::morsini@deloitte.it::e23a083b-875a-4f48-ba50-2ebc8c6e203b" providerId="AD" clId="Web-{74A19CAB-EE6E-3FB6-FDB6-B9ECB132E52C}" dt="2023-02-24T18:27:41.296" v="686"/>
          <ac:spMkLst>
            <pc:docMk/>
            <pc:sldMk cId="1783596213" sldId="277"/>
            <ac:spMk id="64" creationId="{33024B2C-B348-8812-C139-38C0DA9D95C1}"/>
          </ac:spMkLst>
        </pc:spChg>
        <pc:spChg chg="mod">
          <ac:chgData name="Orsini, Massimiliano" userId="S::morsini@deloitte.it::e23a083b-875a-4f48-ba50-2ebc8c6e203b" providerId="AD" clId="Web-{74A19CAB-EE6E-3FB6-FDB6-B9ECB132E52C}" dt="2023-02-24T18:26:13.154" v="640" actId="20577"/>
          <ac:spMkLst>
            <pc:docMk/>
            <pc:sldMk cId="1783596213" sldId="277"/>
            <ac:spMk id="67" creationId="{B2534BA1-BA67-E1CA-7451-40F2922169A6}"/>
          </ac:spMkLst>
        </pc:spChg>
        <pc:spChg chg="mod">
          <ac:chgData name="Orsini, Massimiliano" userId="S::morsini@deloitte.it::e23a083b-875a-4f48-ba50-2ebc8c6e203b" providerId="AD" clId="Web-{74A19CAB-EE6E-3FB6-FDB6-B9ECB132E52C}" dt="2023-02-24T18:27:35.890" v="685" actId="20577"/>
          <ac:spMkLst>
            <pc:docMk/>
            <pc:sldMk cId="1783596213" sldId="277"/>
            <ac:spMk id="82" creationId="{2BC5806B-0558-B65A-65C6-D79848F82FDD}"/>
          </ac:spMkLst>
        </pc:spChg>
        <pc:spChg chg="add mod">
          <ac:chgData name="Orsini, Massimiliano" userId="S::morsini@deloitte.it::e23a083b-875a-4f48-ba50-2ebc8c6e203b" providerId="AD" clId="Web-{74A19CAB-EE6E-3FB6-FDB6-B9ECB132E52C}" dt="2023-02-24T18:25:25.168" v="614" actId="20577"/>
          <ac:spMkLst>
            <pc:docMk/>
            <pc:sldMk cId="1783596213" sldId="277"/>
            <ac:spMk id="90" creationId="{36CA56BE-DD56-BF1A-F45E-CF6B0CA56AEC}"/>
          </ac:spMkLst>
        </pc:spChg>
        <pc:spChg chg="add mod">
          <ac:chgData name="Orsini, Massimiliano" userId="S::morsini@deloitte.it::e23a083b-875a-4f48-ba50-2ebc8c6e203b" providerId="AD" clId="Web-{74A19CAB-EE6E-3FB6-FDB6-B9ECB132E52C}" dt="2023-02-24T18:28:51.626" v="698" actId="1076"/>
          <ac:spMkLst>
            <pc:docMk/>
            <pc:sldMk cId="1783596213" sldId="277"/>
            <ac:spMk id="91" creationId="{1BE2471C-2014-085E-602B-522A2EA80EBE}"/>
          </ac:spMkLst>
        </pc:spChg>
        <pc:spChg chg="add mod">
          <ac:chgData name="Orsini, Massimiliano" userId="S::morsini@deloitte.it::e23a083b-875a-4f48-ba50-2ebc8c6e203b" providerId="AD" clId="Web-{74A19CAB-EE6E-3FB6-FDB6-B9ECB132E52C}" dt="2023-02-24T18:28:57.580" v="700" actId="1076"/>
          <ac:spMkLst>
            <pc:docMk/>
            <pc:sldMk cId="1783596213" sldId="277"/>
            <ac:spMk id="101" creationId="{9FB8BE52-ED42-9506-3C52-05949BEADC10}"/>
          </ac:spMkLst>
        </pc:spChg>
        <pc:spChg chg="add mod">
          <ac:chgData name="Orsini, Massimiliano" userId="S::morsini@deloitte.it::e23a083b-875a-4f48-ba50-2ebc8c6e203b" providerId="AD" clId="Web-{74A19CAB-EE6E-3FB6-FDB6-B9ECB132E52C}" dt="2023-02-24T18:29:11.533" v="704" actId="1076"/>
          <ac:spMkLst>
            <pc:docMk/>
            <pc:sldMk cId="1783596213" sldId="277"/>
            <ac:spMk id="102" creationId="{2DB8B777-9026-EAEB-1560-9732FFB1924C}"/>
          </ac:spMkLst>
        </pc:spChg>
        <pc:spChg chg="add del mod">
          <ac:chgData name="Orsini, Massimiliano" userId="S::morsini@deloitte.it::e23a083b-875a-4f48-ba50-2ebc8c6e203b" providerId="AD" clId="Web-{74A19CAB-EE6E-3FB6-FDB6-B9ECB132E52C}" dt="2023-02-24T18:29:35.831" v="709"/>
          <ac:spMkLst>
            <pc:docMk/>
            <pc:sldMk cId="1783596213" sldId="277"/>
            <ac:spMk id="103" creationId="{8F89E393-CCA2-3001-B805-7D3C9AA66455}"/>
          </ac:spMkLst>
        </pc:spChg>
        <pc:grpChg chg="del">
          <ac:chgData name="Orsini, Massimiliano" userId="S::morsini@deloitte.it::e23a083b-875a-4f48-ba50-2ebc8c6e203b" providerId="AD" clId="Web-{74A19CAB-EE6E-3FB6-FDB6-B9ECB132E52C}" dt="2023-02-24T18:23:53.103" v="604"/>
          <ac:grpSpMkLst>
            <pc:docMk/>
            <pc:sldMk cId="1783596213" sldId="277"/>
            <ac:grpSpMk id="32" creationId="{70274AFD-847A-4A0A-A899-FF0529CD6CA1}"/>
          </ac:grpSpMkLst>
        </pc:grpChg>
        <pc:grpChg chg="del">
          <ac:chgData name="Orsini, Massimiliano" userId="S::morsini@deloitte.it::e23a083b-875a-4f48-ba50-2ebc8c6e203b" providerId="AD" clId="Web-{74A19CAB-EE6E-3FB6-FDB6-B9ECB132E52C}" dt="2023-02-24T18:23:53.103" v="598"/>
          <ac:grpSpMkLst>
            <pc:docMk/>
            <pc:sldMk cId="1783596213" sldId="277"/>
            <ac:grpSpMk id="41" creationId="{31064FD3-E590-4FF3-82DA-E4F04C2E91EF}"/>
          </ac:grpSpMkLst>
        </pc:grpChg>
        <pc:grpChg chg="add">
          <ac:chgData name="Orsini, Massimiliano" userId="S::morsini@deloitte.it::e23a083b-875a-4f48-ba50-2ebc8c6e203b" providerId="AD" clId="Web-{74A19CAB-EE6E-3FB6-FDB6-B9ECB132E52C}" dt="2023-02-24T18:24:08.463" v="609"/>
          <ac:grpSpMkLst>
            <pc:docMk/>
            <pc:sldMk cId="1783596213" sldId="277"/>
            <ac:grpSpMk id="69" creationId="{26CFEFBD-35F1-A912-EF62-A147FCB53169}"/>
          </ac:grpSpMkLst>
        </pc:grpChg>
        <pc:grpChg chg="add mod">
          <ac:chgData name="Orsini, Massimiliano" userId="S::morsini@deloitte.it::e23a083b-875a-4f48-ba50-2ebc8c6e203b" providerId="AD" clId="Web-{74A19CAB-EE6E-3FB6-FDB6-B9ECB132E52C}" dt="2023-02-24T18:28:23.563" v="690" actId="1076"/>
          <ac:grpSpMkLst>
            <pc:docMk/>
            <pc:sldMk cId="1783596213" sldId="277"/>
            <ac:grpSpMk id="84" creationId="{596D46E7-0D59-BD72-D03B-D71A5271A74D}"/>
          </ac:grpSpMkLst>
        </pc:grpChg>
        <pc:grpChg chg="add">
          <ac:chgData name="Orsini, Massimiliano" userId="S::morsini@deloitte.it::e23a083b-875a-4f48-ba50-2ebc8c6e203b" providerId="AD" clId="Web-{74A19CAB-EE6E-3FB6-FDB6-B9ECB132E52C}" dt="2023-02-24T18:24:08.541" v="611"/>
          <ac:grpSpMkLst>
            <pc:docMk/>
            <pc:sldMk cId="1783596213" sldId="277"/>
            <ac:grpSpMk id="88" creationId="{35FAEB70-8C7A-A956-965B-4D2137E5A85B}"/>
          </ac:grpSpMkLst>
        </pc:grpChg>
        <pc:graphicFrameChg chg="modGraphic">
          <ac:chgData name="Orsini, Massimiliano" userId="S::morsini@deloitte.it::e23a083b-875a-4f48-ba50-2ebc8c6e203b" providerId="AD" clId="Web-{74A19CAB-EE6E-3FB6-FDB6-B9ECB132E52C}" dt="2023-02-24T18:23:43.447" v="595" actId="20577"/>
          <ac:graphicFrameMkLst>
            <pc:docMk/>
            <pc:sldMk cId="1783596213" sldId="277"/>
            <ac:graphicFrameMk id="2" creationId="{2097C650-0F7A-4176-B182-2E84211284E4}"/>
          </ac:graphicFrameMkLst>
        </pc:graphicFrameChg>
        <pc:picChg chg="del">
          <ac:chgData name="Orsini, Massimiliano" userId="S::morsini@deloitte.it::e23a083b-875a-4f48-ba50-2ebc8c6e203b" providerId="AD" clId="Web-{74A19CAB-EE6E-3FB6-FDB6-B9ECB132E52C}" dt="2023-02-24T18:23:53.103" v="608"/>
          <ac:picMkLst>
            <pc:docMk/>
            <pc:sldMk cId="1783596213" sldId="277"/>
            <ac:picMk id="11" creationId="{C0D417A1-1021-4E31-BD5B-8FE85C3416AF}"/>
          </ac:picMkLst>
        </pc:picChg>
        <pc:picChg chg="del">
          <ac:chgData name="Orsini, Massimiliano" userId="S::morsini@deloitte.it::e23a083b-875a-4f48-ba50-2ebc8c6e203b" providerId="AD" clId="Web-{74A19CAB-EE6E-3FB6-FDB6-B9ECB132E52C}" dt="2023-02-24T18:23:53.103" v="607"/>
          <ac:picMkLst>
            <pc:docMk/>
            <pc:sldMk cId="1783596213" sldId="277"/>
            <ac:picMk id="12" creationId="{158E1EDE-B210-4C21-AD7B-D5C255296D68}"/>
          </ac:picMkLst>
        </pc:picChg>
        <pc:picChg chg="del">
          <ac:chgData name="Orsini, Massimiliano" userId="S::morsini@deloitte.it::e23a083b-875a-4f48-ba50-2ebc8c6e203b" providerId="AD" clId="Web-{74A19CAB-EE6E-3FB6-FDB6-B9ECB132E52C}" dt="2023-02-24T18:23:53.103" v="606"/>
          <ac:picMkLst>
            <pc:docMk/>
            <pc:sldMk cId="1783596213" sldId="277"/>
            <ac:picMk id="14" creationId="{43100A8C-2FA1-4A89-91F3-264646593C24}"/>
          </ac:picMkLst>
        </pc:picChg>
      </pc:sldChg>
      <pc:sldChg chg="add ord replId">
        <pc:chgData name="Orsini, Massimiliano" userId="S::morsini@deloitte.it::e23a083b-875a-4f48-ba50-2ebc8c6e203b" providerId="AD" clId="Web-{74A19CAB-EE6E-3FB6-FDB6-B9ECB132E52C}" dt="2023-02-24T16:41:08.277" v="219"/>
        <pc:sldMkLst>
          <pc:docMk/>
          <pc:sldMk cId="3953681189" sldId="278"/>
        </pc:sldMkLst>
      </pc:sldChg>
      <pc:sldChg chg="add ord">
        <pc:chgData name="Orsini, Massimiliano" userId="S::morsini@deloitte.it::e23a083b-875a-4f48-ba50-2ebc8c6e203b" providerId="AD" clId="Web-{74A19CAB-EE6E-3FB6-FDB6-B9ECB132E52C}" dt="2023-02-24T16:41:22.871" v="222"/>
        <pc:sldMkLst>
          <pc:docMk/>
          <pc:sldMk cId="2790547874" sldId="279"/>
        </pc:sldMkLst>
      </pc:sldChg>
      <pc:sldChg chg="addSp delSp modSp new ord">
        <pc:chgData name="Orsini, Massimiliano" userId="S::morsini@deloitte.it::e23a083b-875a-4f48-ba50-2ebc8c6e203b" providerId="AD" clId="Web-{74A19CAB-EE6E-3FB6-FDB6-B9ECB132E52C}" dt="2023-02-24T17:08:34.084" v="524"/>
        <pc:sldMkLst>
          <pc:docMk/>
          <pc:sldMk cId="3399957933" sldId="280"/>
        </pc:sldMkLst>
        <pc:spChg chg="add mod topLvl">
          <ac:chgData name="Orsini, Massimiliano" userId="S::morsini@deloitte.it::e23a083b-875a-4f48-ba50-2ebc8c6e203b" providerId="AD" clId="Web-{74A19CAB-EE6E-3FB6-FDB6-B9ECB132E52C}" dt="2023-02-24T17:05:30.063" v="514"/>
          <ac:spMkLst>
            <pc:docMk/>
            <pc:sldMk cId="3399957933" sldId="280"/>
            <ac:spMk id="2" creationId="{1C07A1E3-BCC3-FA52-FEC0-837B726F0BE8}"/>
          </ac:spMkLst>
        </pc:spChg>
        <pc:spChg chg="add mod topLvl">
          <ac:chgData name="Orsini, Massimiliano" userId="S::morsini@deloitte.it::e23a083b-875a-4f48-ba50-2ebc8c6e203b" providerId="AD" clId="Web-{74A19CAB-EE6E-3FB6-FDB6-B9ECB132E52C}" dt="2023-02-24T17:05:30.063" v="514"/>
          <ac:spMkLst>
            <pc:docMk/>
            <pc:sldMk cId="3399957933" sldId="280"/>
            <ac:spMk id="3" creationId="{1BAEE523-B5FA-6D14-1ED1-3AF8EABE3D29}"/>
          </ac:spMkLst>
        </pc:spChg>
        <pc:spChg chg="add mod topLvl">
          <ac:chgData name="Orsini, Massimiliano" userId="S::morsini@deloitte.it::e23a083b-875a-4f48-ba50-2ebc8c6e203b" providerId="AD" clId="Web-{74A19CAB-EE6E-3FB6-FDB6-B9ECB132E52C}" dt="2023-02-24T17:05:30.063" v="514"/>
          <ac:spMkLst>
            <pc:docMk/>
            <pc:sldMk cId="3399957933" sldId="280"/>
            <ac:spMk id="4" creationId="{77581472-EB1A-90E6-0AFE-6E3487DF081A}"/>
          </ac:spMkLst>
        </pc:spChg>
        <pc:spChg chg="add mod topLvl">
          <ac:chgData name="Orsini, Massimiliano" userId="S::morsini@deloitte.it::e23a083b-875a-4f48-ba50-2ebc8c6e203b" providerId="AD" clId="Web-{74A19CAB-EE6E-3FB6-FDB6-B9ECB132E52C}" dt="2023-02-24T17:05:30.063" v="514"/>
          <ac:spMkLst>
            <pc:docMk/>
            <pc:sldMk cId="3399957933" sldId="280"/>
            <ac:spMk id="5" creationId="{57DEF983-22F8-94C6-4102-D7EECB2C5DA0}"/>
          </ac:spMkLst>
        </pc:spChg>
        <pc:spChg chg="add mod topLvl">
          <ac:chgData name="Orsini, Massimiliano" userId="S::morsini@deloitte.it::e23a083b-875a-4f48-ba50-2ebc8c6e203b" providerId="AD" clId="Web-{74A19CAB-EE6E-3FB6-FDB6-B9ECB132E52C}" dt="2023-02-24T17:05:30.063" v="514"/>
          <ac:spMkLst>
            <pc:docMk/>
            <pc:sldMk cId="3399957933" sldId="280"/>
            <ac:spMk id="6" creationId="{5058A25E-F8C3-66FF-2D64-02E8AAB0E472}"/>
          </ac:spMkLst>
        </pc:spChg>
        <pc:spChg chg="add mod topLvl">
          <ac:chgData name="Orsini, Massimiliano" userId="S::morsini@deloitte.it::e23a083b-875a-4f48-ba50-2ebc8c6e203b" providerId="AD" clId="Web-{74A19CAB-EE6E-3FB6-FDB6-B9ECB132E52C}" dt="2023-02-24T17:05:30.063" v="514"/>
          <ac:spMkLst>
            <pc:docMk/>
            <pc:sldMk cId="3399957933" sldId="280"/>
            <ac:spMk id="10" creationId="{2D431165-B5FD-0CDD-AA5B-7F6EB85477D1}"/>
          </ac:spMkLst>
        </pc:spChg>
        <pc:spChg chg="add mod topLvl">
          <ac:chgData name="Orsini, Massimiliano" userId="S::morsini@deloitte.it::e23a083b-875a-4f48-ba50-2ebc8c6e203b" providerId="AD" clId="Web-{74A19CAB-EE6E-3FB6-FDB6-B9ECB132E52C}" dt="2023-02-24T17:05:30.063" v="514"/>
          <ac:spMkLst>
            <pc:docMk/>
            <pc:sldMk cId="3399957933" sldId="280"/>
            <ac:spMk id="11" creationId="{462364C5-6279-C000-C85D-15F6282B1B6C}"/>
          </ac:spMkLst>
        </pc:spChg>
        <pc:spChg chg="add mod topLvl">
          <ac:chgData name="Orsini, Massimiliano" userId="S::morsini@deloitte.it::e23a083b-875a-4f48-ba50-2ebc8c6e203b" providerId="AD" clId="Web-{74A19CAB-EE6E-3FB6-FDB6-B9ECB132E52C}" dt="2023-02-24T17:05:30.063" v="514"/>
          <ac:spMkLst>
            <pc:docMk/>
            <pc:sldMk cId="3399957933" sldId="280"/>
            <ac:spMk id="12" creationId="{5A9840B8-72C6-D2A2-F18C-12062B08E7FC}"/>
          </ac:spMkLst>
        </pc:spChg>
        <pc:spChg chg="add mod topLvl">
          <ac:chgData name="Orsini, Massimiliano" userId="S::morsini@deloitte.it::e23a083b-875a-4f48-ba50-2ebc8c6e203b" providerId="AD" clId="Web-{74A19CAB-EE6E-3FB6-FDB6-B9ECB132E52C}" dt="2023-02-24T17:05:30.063" v="514"/>
          <ac:spMkLst>
            <pc:docMk/>
            <pc:sldMk cId="3399957933" sldId="280"/>
            <ac:spMk id="13" creationId="{E94F7A01-0EEB-884D-AF1F-65A96735679E}"/>
          </ac:spMkLst>
        </pc:spChg>
        <pc:spChg chg="add del">
          <ac:chgData name="Orsini, Massimiliano" userId="S::morsini@deloitte.it::e23a083b-875a-4f48-ba50-2ebc8c6e203b" providerId="AD" clId="Web-{74A19CAB-EE6E-3FB6-FDB6-B9ECB132E52C}" dt="2023-02-24T16:52:50.832" v="311"/>
          <ac:spMkLst>
            <pc:docMk/>
            <pc:sldMk cId="3399957933" sldId="280"/>
            <ac:spMk id="14" creationId="{DA59CEDA-DE2E-9EE8-A8D3-26E7463145C0}"/>
          </ac:spMkLst>
        </pc:spChg>
        <pc:spChg chg="add del">
          <ac:chgData name="Orsini, Massimiliano" userId="S::morsini@deloitte.it::e23a083b-875a-4f48-ba50-2ebc8c6e203b" providerId="AD" clId="Web-{74A19CAB-EE6E-3FB6-FDB6-B9ECB132E52C}" dt="2023-02-24T16:52:56.301" v="313"/>
          <ac:spMkLst>
            <pc:docMk/>
            <pc:sldMk cId="3399957933" sldId="280"/>
            <ac:spMk id="15" creationId="{BCE595EA-9A24-378E-EA26-57C72601FAB2}"/>
          </ac:spMkLst>
        </pc:spChg>
        <pc:spChg chg="add del">
          <ac:chgData name="Orsini, Massimiliano" userId="S::morsini@deloitte.it::e23a083b-875a-4f48-ba50-2ebc8c6e203b" providerId="AD" clId="Web-{74A19CAB-EE6E-3FB6-FDB6-B9ECB132E52C}" dt="2023-02-24T16:53:04.895" v="315"/>
          <ac:spMkLst>
            <pc:docMk/>
            <pc:sldMk cId="3399957933" sldId="280"/>
            <ac:spMk id="16" creationId="{E1FA929B-3247-2633-F4D6-3C17D46BC003}"/>
          </ac:spMkLst>
        </pc:spChg>
        <pc:spChg chg="add mod topLvl">
          <ac:chgData name="Orsini, Massimiliano" userId="S::morsini@deloitte.it::e23a083b-875a-4f48-ba50-2ebc8c6e203b" providerId="AD" clId="Web-{74A19CAB-EE6E-3FB6-FDB6-B9ECB132E52C}" dt="2023-02-24T17:05:30.063" v="514"/>
          <ac:spMkLst>
            <pc:docMk/>
            <pc:sldMk cId="3399957933" sldId="280"/>
            <ac:spMk id="17" creationId="{3D0ED94D-1D05-F02F-EA73-92A3DCF93BE7}"/>
          </ac:spMkLst>
        </pc:spChg>
        <pc:spChg chg="add mod">
          <ac:chgData name="Orsini, Massimiliano" userId="S::morsini@deloitte.it::e23a083b-875a-4f48-ba50-2ebc8c6e203b" providerId="AD" clId="Web-{74A19CAB-EE6E-3FB6-FDB6-B9ECB132E52C}" dt="2023-02-24T17:00:07.940" v="438" actId="20577"/>
          <ac:spMkLst>
            <pc:docMk/>
            <pc:sldMk cId="3399957933" sldId="280"/>
            <ac:spMk id="19" creationId="{E40E0191-2040-EDE2-3869-BDF004272C2A}"/>
          </ac:spMkLst>
        </pc:spChg>
        <pc:spChg chg="add mod topLvl">
          <ac:chgData name="Orsini, Massimiliano" userId="S::morsini@deloitte.it::e23a083b-875a-4f48-ba50-2ebc8c6e203b" providerId="AD" clId="Web-{74A19CAB-EE6E-3FB6-FDB6-B9ECB132E52C}" dt="2023-02-24T17:05:30.063" v="514"/>
          <ac:spMkLst>
            <pc:docMk/>
            <pc:sldMk cId="3399957933" sldId="280"/>
            <ac:spMk id="20" creationId="{FD7FA5C6-1BF9-09D8-7DE2-DF831B77D1B4}"/>
          </ac:spMkLst>
        </pc:spChg>
        <pc:spChg chg="mod">
          <ac:chgData name="Orsini, Massimiliano" userId="S::morsini@deloitte.it::e23a083b-875a-4f48-ba50-2ebc8c6e203b" providerId="AD" clId="Web-{74A19CAB-EE6E-3FB6-FDB6-B9ECB132E52C}" dt="2023-02-24T16:59:16.485" v="425"/>
          <ac:spMkLst>
            <pc:docMk/>
            <pc:sldMk cId="3399957933" sldId="280"/>
            <ac:spMk id="22" creationId="{195BCF20-29FF-EAB3-555E-9B79E8990723}"/>
          </ac:spMkLst>
        </pc:spChg>
        <pc:spChg chg="mod">
          <ac:chgData name="Orsini, Massimiliano" userId="S::morsini@deloitte.it::e23a083b-875a-4f48-ba50-2ebc8c6e203b" providerId="AD" clId="Web-{74A19CAB-EE6E-3FB6-FDB6-B9ECB132E52C}" dt="2023-02-24T17:04:59.218" v="507" actId="1076"/>
          <ac:spMkLst>
            <pc:docMk/>
            <pc:sldMk cId="3399957933" sldId="280"/>
            <ac:spMk id="23" creationId="{6EE3BEF8-186C-9914-2FFA-25A74671C963}"/>
          </ac:spMkLst>
        </pc:spChg>
        <pc:grpChg chg="add mod topLvl">
          <ac:chgData name="Orsini, Massimiliano" userId="S::morsini@deloitte.it::e23a083b-875a-4f48-ba50-2ebc8c6e203b" providerId="AD" clId="Web-{74A19CAB-EE6E-3FB6-FDB6-B9ECB132E52C}" dt="2023-02-24T17:05:35.266" v="515" actId="1076"/>
          <ac:grpSpMkLst>
            <pc:docMk/>
            <pc:sldMk cId="3399957933" sldId="280"/>
            <ac:grpSpMk id="24" creationId="{49DA2D46-2B77-F910-946E-CD02A29449D6}"/>
          </ac:grpSpMkLst>
        </pc:grpChg>
        <pc:grpChg chg="add del mod">
          <ac:chgData name="Orsini, Massimiliano" userId="S::morsini@deloitte.it::e23a083b-875a-4f48-ba50-2ebc8c6e203b" providerId="AD" clId="Web-{74A19CAB-EE6E-3FB6-FDB6-B9ECB132E52C}" dt="2023-02-24T17:05:30.063" v="514"/>
          <ac:grpSpMkLst>
            <pc:docMk/>
            <pc:sldMk cId="3399957933" sldId="280"/>
            <ac:grpSpMk id="25" creationId="{52BB15B9-96E4-A5E5-A4A6-1478745F8F53}"/>
          </ac:grpSpMkLst>
        </pc:grpChg>
        <pc:grpChg chg="add">
          <ac:chgData name="Orsini, Massimiliano" userId="S::morsini@deloitte.it::e23a083b-875a-4f48-ba50-2ebc8c6e203b" providerId="AD" clId="Web-{74A19CAB-EE6E-3FB6-FDB6-B9ECB132E52C}" dt="2023-02-24T17:05:42.782" v="516"/>
          <ac:grpSpMkLst>
            <pc:docMk/>
            <pc:sldMk cId="3399957933" sldId="280"/>
            <ac:grpSpMk id="26" creationId="{0B05350D-43A1-6EF0-EC52-0EB4D79F17C0}"/>
          </ac:grpSpMkLst>
        </pc:grpChg>
        <pc:grpChg chg="add del">
          <ac:chgData name="Orsini, Massimiliano" userId="S::morsini@deloitte.it::e23a083b-875a-4f48-ba50-2ebc8c6e203b" providerId="AD" clId="Web-{74A19CAB-EE6E-3FB6-FDB6-B9ECB132E52C}" dt="2023-02-24T17:08:34.084" v="524"/>
          <ac:grpSpMkLst>
            <pc:docMk/>
            <pc:sldMk cId="3399957933" sldId="280"/>
            <ac:grpSpMk id="30" creationId="{063342DB-E8F7-4B48-86BD-991883F1D8AD}"/>
          </ac:grpSpMkLst>
        </pc:grpChg>
        <pc:picChg chg="add mod topLvl">
          <ac:chgData name="Orsini, Massimiliano" userId="S::morsini@deloitte.it::e23a083b-875a-4f48-ba50-2ebc8c6e203b" providerId="AD" clId="Web-{74A19CAB-EE6E-3FB6-FDB6-B9ECB132E52C}" dt="2023-02-24T17:05:30.063" v="514"/>
          <ac:picMkLst>
            <pc:docMk/>
            <pc:sldMk cId="3399957933" sldId="280"/>
            <ac:picMk id="8" creationId="{0AFBF9C7-D052-9396-554B-74B4F7B6BEC8}"/>
          </ac:picMkLst>
        </pc:picChg>
        <pc:picChg chg="add mod topLvl">
          <ac:chgData name="Orsini, Massimiliano" userId="S::morsini@deloitte.it::e23a083b-875a-4f48-ba50-2ebc8c6e203b" providerId="AD" clId="Web-{74A19CAB-EE6E-3FB6-FDB6-B9ECB132E52C}" dt="2023-02-24T17:05:30.063" v="514"/>
          <ac:picMkLst>
            <pc:docMk/>
            <pc:sldMk cId="3399957933" sldId="280"/>
            <ac:picMk id="9" creationId="{A1B4C472-908C-F182-8112-40A5943E3D5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A198D4-B5FD-4F88-A93B-F30AF8D17020}" type="doc">
      <dgm:prSet loTypeId="urn:microsoft.com/office/officeart/2005/8/layout/process1" loCatId="process" qsTypeId="urn:microsoft.com/office/officeart/2005/8/quickstyle/simple1" qsCatId="simple" csTypeId="urn:microsoft.com/office/officeart/2005/8/colors/accent1_2" csCatId="accent1" phldr="1"/>
      <dgm:spPr/>
    </dgm:pt>
    <dgm:pt modelId="{CD7C1BD9-7CDA-40B9-A859-E58EFF429C3A}">
      <dgm:prSet phldrT="[Text]"/>
      <dgm:spPr/>
      <dgm:t>
        <a:bodyPr/>
        <a:lstStyle/>
        <a:p>
          <a:pPr rtl="0"/>
          <a:r>
            <a:rPr lang="it-IT" dirty="0"/>
            <a:t>Applicazione </a:t>
          </a:r>
          <a:r>
            <a:rPr lang="it-IT" dirty="0">
              <a:latin typeface="Calibri"/>
            </a:rPr>
            <a:t>recupera i file disponibili sul bucket </a:t>
          </a:r>
          <a:r>
            <a:rPr lang="it-IT" dirty="0"/>
            <a:t>S3 </a:t>
          </a:r>
          <a:r>
            <a:rPr lang="it-IT" dirty="0">
              <a:latin typeface="Calibri"/>
            </a:rPr>
            <a:t>tramite API AWS</a:t>
          </a:r>
          <a:r>
            <a:rPr lang="it-IT" dirty="0"/>
            <a:t> «</a:t>
          </a:r>
          <a:r>
            <a:rPr lang="en-US" b="1" i="0" dirty="0"/>
            <a:t>com.amazonaws.services.s3</a:t>
          </a:r>
          <a:r>
            <a:rPr lang="it-IT" dirty="0"/>
            <a:t>»</a:t>
          </a:r>
          <a:r>
            <a:rPr lang="it-IT" dirty="0">
              <a:latin typeface="Calibri"/>
            </a:rPr>
            <a:t>  </a:t>
          </a:r>
          <a:endParaRPr lang="en-US" dirty="0"/>
        </a:p>
      </dgm:t>
    </dgm:pt>
    <dgm:pt modelId="{297BBC3E-A0C0-4BF5-9714-DA7CF65B4599}" type="parTrans" cxnId="{67C86081-16EF-4263-BADC-E7B23BBA8AE4}">
      <dgm:prSet/>
      <dgm:spPr/>
      <dgm:t>
        <a:bodyPr/>
        <a:lstStyle/>
        <a:p>
          <a:endParaRPr lang="en-US"/>
        </a:p>
      </dgm:t>
    </dgm:pt>
    <dgm:pt modelId="{61196FF0-5024-4B00-A678-8268B62729F3}" type="sibTrans" cxnId="{67C86081-16EF-4263-BADC-E7B23BBA8AE4}">
      <dgm:prSet/>
      <dgm:spPr/>
      <dgm:t>
        <a:bodyPr/>
        <a:lstStyle/>
        <a:p>
          <a:endParaRPr lang="en-US"/>
        </a:p>
      </dgm:t>
    </dgm:pt>
    <dgm:pt modelId="{FBD9EA8B-EDA5-46FD-B55C-75E0F7883630}">
      <dgm:prSet phldrT="[Text]"/>
      <dgm:spPr/>
      <dgm:t>
        <a:bodyPr/>
        <a:lstStyle/>
        <a:p>
          <a:pPr rtl="0"/>
          <a:r>
            <a:rPr lang="it-IT" dirty="0">
              <a:latin typeface="Calibri"/>
            </a:rPr>
            <a:t>L'utente sceglie un</a:t>
          </a:r>
          <a:r>
            <a:rPr lang="it-IT" dirty="0"/>
            <a:t> </a:t>
          </a:r>
          <a:r>
            <a:rPr lang="it-IT" dirty="0">
              <a:latin typeface="Calibri"/>
            </a:rPr>
            <a:t>file tra quelli disponibili</a:t>
          </a:r>
          <a:endParaRPr lang="en-US" dirty="0"/>
        </a:p>
      </dgm:t>
    </dgm:pt>
    <dgm:pt modelId="{1AB2A12B-E48A-41D5-81D1-7C9F65D583AD}" type="parTrans" cxnId="{F3AA6418-68B0-4382-B3A4-0A61163E7E08}">
      <dgm:prSet/>
      <dgm:spPr/>
      <dgm:t>
        <a:bodyPr/>
        <a:lstStyle/>
        <a:p>
          <a:endParaRPr lang="en-US"/>
        </a:p>
      </dgm:t>
    </dgm:pt>
    <dgm:pt modelId="{0EC7FB03-3565-46C5-90CC-B9FE52627E4F}" type="sibTrans" cxnId="{F3AA6418-68B0-4382-B3A4-0A61163E7E08}">
      <dgm:prSet/>
      <dgm:spPr/>
      <dgm:t>
        <a:bodyPr/>
        <a:lstStyle/>
        <a:p>
          <a:endParaRPr lang="en-US"/>
        </a:p>
      </dgm:t>
    </dgm:pt>
    <dgm:pt modelId="{235218D8-7BBE-4135-A9C9-7BE70E2D01CB}">
      <dgm:prSet phldrT="[Text]"/>
      <dgm:spPr/>
      <dgm:t>
        <a:bodyPr/>
        <a:lstStyle/>
        <a:p>
          <a:pPr rtl="0"/>
          <a:r>
            <a:rPr lang="it-IT" dirty="0">
              <a:latin typeface="Calibri"/>
            </a:rPr>
            <a:t>L'utente richiede il trasferimento del file verso </a:t>
          </a:r>
          <a:r>
            <a:rPr lang="it-IT" dirty="0"/>
            <a:t>CUBBIT con </a:t>
          </a:r>
          <a:r>
            <a:rPr lang="it-IT" dirty="0">
              <a:latin typeface="Calibri"/>
            </a:rPr>
            <a:t>l'API</a:t>
          </a:r>
          <a:r>
            <a:rPr lang="it-IT" dirty="0"/>
            <a:t> «</a:t>
          </a:r>
          <a:r>
            <a:rPr lang="en-US" b="0" i="0" dirty="0"/>
            <a:t>https://s3.cubbit.eu</a:t>
          </a:r>
          <a:r>
            <a:rPr lang="it-IT" dirty="0"/>
            <a:t>»</a:t>
          </a:r>
          <a:endParaRPr lang="en-US" dirty="0">
            <a:latin typeface="Calibri"/>
          </a:endParaRPr>
        </a:p>
      </dgm:t>
    </dgm:pt>
    <dgm:pt modelId="{CAF87809-A11E-4F86-8AA8-737838065950}" type="parTrans" cxnId="{03940394-09C7-4C19-9921-4E8628FDDB62}">
      <dgm:prSet/>
      <dgm:spPr/>
      <dgm:t>
        <a:bodyPr/>
        <a:lstStyle/>
        <a:p>
          <a:endParaRPr lang="en-US"/>
        </a:p>
      </dgm:t>
    </dgm:pt>
    <dgm:pt modelId="{9826AC62-3A83-4285-B8EA-73D21641DF40}" type="sibTrans" cxnId="{03940394-09C7-4C19-9921-4E8628FDDB62}">
      <dgm:prSet/>
      <dgm:spPr/>
      <dgm:t>
        <a:bodyPr/>
        <a:lstStyle/>
        <a:p>
          <a:endParaRPr lang="en-US"/>
        </a:p>
      </dgm:t>
    </dgm:pt>
    <dgm:pt modelId="{899B3F4D-EBB9-4205-BA2C-5396DF0F5126}">
      <dgm:prSet phldr="0"/>
      <dgm:spPr/>
      <dgm:t>
        <a:bodyPr/>
        <a:lstStyle/>
        <a:p>
          <a:pPr rtl="0"/>
          <a:r>
            <a:rPr lang="it-IT" dirty="0">
              <a:latin typeface="Calibri"/>
            </a:rPr>
            <a:t> A trasferimento avvenuto il file</a:t>
          </a:r>
          <a:r>
            <a:rPr lang="it-IT" dirty="0"/>
            <a:t> </a:t>
          </a:r>
          <a:r>
            <a:rPr lang="it-IT" dirty="0">
              <a:latin typeface="Calibri"/>
            </a:rPr>
            <a:t>è disponibile sul bucket </a:t>
          </a:r>
          <a:r>
            <a:rPr lang="it-IT" dirty="0"/>
            <a:t>CUBBIT</a:t>
          </a:r>
          <a:endParaRPr lang="en-US" dirty="0"/>
        </a:p>
      </dgm:t>
    </dgm:pt>
    <dgm:pt modelId="{964A2855-3295-42CB-B4BF-945841BF064D}" type="parTrans" cxnId="{B22F79CE-E809-4352-96A0-4D1A09BACF92}">
      <dgm:prSet/>
      <dgm:spPr/>
    </dgm:pt>
    <dgm:pt modelId="{990F7E3D-DFDC-47DA-B7D7-DB19888F0259}" type="sibTrans" cxnId="{B22F79CE-E809-4352-96A0-4D1A09BACF92}">
      <dgm:prSet/>
      <dgm:spPr/>
    </dgm:pt>
    <dgm:pt modelId="{5B3A53AA-E520-4351-887F-37FCFC61C90F}" type="pres">
      <dgm:prSet presAssocID="{B9A198D4-B5FD-4F88-A93B-F30AF8D17020}" presName="Name0" presStyleCnt="0">
        <dgm:presLayoutVars>
          <dgm:dir/>
          <dgm:resizeHandles val="exact"/>
        </dgm:presLayoutVars>
      </dgm:prSet>
      <dgm:spPr/>
    </dgm:pt>
    <dgm:pt modelId="{DECD5388-54DE-4944-BAF8-3D0FBDC2E6D4}" type="pres">
      <dgm:prSet presAssocID="{CD7C1BD9-7CDA-40B9-A859-E58EFF429C3A}" presName="node" presStyleLbl="node1" presStyleIdx="0" presStyleCnt="4">
        <dgm:presLayoutVars>
          <dgm:bulletEnabled val="1"/>
        </dgm:presLayoutVars>
      </dgm:prSet>
      <dgm:spPr/>
    </dgm:pt>
    <dgm:pt modelId="{5A3B0583-C81F-400A-B8A3-5C93BA46C4A7}" type="pres">
      <dgm:prSet presAssocID="{61196FF0-5024-4B00-A678-8268B62729F3}" presName="sibTrans" presStyleLbl="sibTrans2D1" presStyleIdx="0" presStyleCnt="3"/>
      <dgm:spPr/>
    </dgm:pt>
    <dgm:pt modelId="{694B8F39-0FDD-4C4D-B860-27157795CC6F}" type="pres">
      <dgm:prSet presAssocID="{61196FF0-5024-4B00-A678-8268B62729F3}" presName="connectorText" presStyleLbl="sibTrans2D1" presStyleIdx="0" presStyleCnt="3"/>
      <dgm:spPr/>
    </dgm:pt>
    <dgm:pt modelId="{8B17E261-8EFC-4F90-96A6-D844DD47BC25}" type="pres">
      <dgm:prSet presAssocID="{FBD9EA8B-EDA5-46FD-B55C-75E0F7883630}" presName="node" presStyleLbl="node1" presStyleIdx="1" presStyleCnt="4" custLinFactNeighborY="0">
        <dgm:presLayoutVars>
          <dgm:bulletEnabled val="1"/>
        </dgm:presLayoutVars>
      </dgm:prSet>
      <dgm:spPr/>
    </dgm:pt>
    <dgm:pt modelId="{1F17EA50-77AB-4DC3-A195-85A2E211EBE5}" type="pres">
      <dgm:prSet presAssocID="{0EC7FB03-3565-46C5-90CC-B9FE52627E4F}" presName="sibTrans" presStyleLbl="sibTrans2D1" presStyleIdx="1" presStyleCnt="3"/>
      <dgm:spPr/>
    </dgm:pt>
    <dgm:pt modelId="{11A347EF-5352-4722-B048-C90D03761350}" type="pres">
      <dgm:prSet presAssocID="{0EC7FB03-3565-46C5-90CC-B9FE52627E4F}" presName="connectorText" presStyleLbl="sibTrans2D1" presStyleIdx="1" presStyleCnt="3"/>
      <dgm:spPr/>
    </dgm:pt>
    <dgm:pt modelId="{F99B1671-035B-4780-BC3C-FCA6808504A9}" type="pres">
      <dgm:prSet presAssocID="{235218D8-7BBE-4135-A9C9-7BE70E2D01CB}" presName="node" presStyleLbl="node1" presStyleIdx="2" presStyleCnt="4">
        <dgm:presLayoutVars>
          <dgm:bulletEnabled val="1"/>
        </dgm:presLayoutVars>
      </dgm:prSet>
      <dgm:spPr/>
    </dgm:pt>
    <dgm:pt modelId="{FAB20AE8-A97A-48BC-B73E-D2BE09CBDCCC}" type="pres">
      <dgm:prSet presAssocID="{9826AC62-3A83-4285-B8EA-73D21641DF40}" presName="sibTrans" presStyleLbl="sibTrans2D1" presStyleIdx="2" presStyleCnt="3"/>
      <dgm:spPr/>
    </dgm:pt>
    <dgm:pt modelId="{87E564A9-2E9D-4FBC-8EAC-A5BCDB4A4A59}" type="pres">
      <dgm:prSet presAssocID="{9826AC62-3A83-4285-B8EA-73D21641DF40}" presName="connectorText" presStyleLbl="sibTrans2D1" presStyleIdx="2" presStyleCnt="3"/>
      <dgm:spPr/>
    </dgm:pt>
    <dgm:pt modelId="{A6B3CFB8-25A1-4EC4-A0CF-2C13BB6AAF77}" type="pres">
      <dgm:prSet presAssocID="{899B3F4D-EBB9-4205-BA2C-5396DF0F5126}" presName="node" presStyleLbl="node1" presStyleIdx="3" presStyleCnt="4">
        <dgm:presLayoutVars>
          <dgm:bulletEnabled val="1"/>
        </dgm:presLayoutVars>
      </dgm:prSet>
      <dgm:spPr/>
    </dgm:pt>
  </dgm:ptLst>
  <dgm:cxnLst>
    <dgm:cxn modelId="{6C683802-4042-4DB9-BB3F-1475B5FA45AD}" type="presOf" srcId="{899B3F4D-EBB9-4205-BA2C-5396DF0F5126}" destId="{A6B3CFB8-25A1-4EC4-A0CF-2C13BB6AAF77}" srcOrd="0" destOrd="0" presId="urn:microsoft.com/office/officeart/2005/8/layout/process1"/>
    <dgm:cxn modelId="{6B583703-1731-4CCB-915C-6BDF3F0E0820}" type="presOf" srcId="{CD7C1BD9-7CDA-40B9-A859-E58EFF429C3A}" destId="{DECD5388-54DE-4944-BAF8-3D0FBDC2E6D4}" srcOrd="0" destOrd="0" presId="urn:microsoft.com/office/officeart/2005/8/layout/process1"/>
    <dgm:cxn modelId="{F3AA6418-68B0-4382-B3A4-0A61163E7E08}" srcId="{B9A198D4-B5FD-4F88-A93B-F30AF8D17020}" destId="{FBD9EA8B-EDA5-46FD-B55C-75E0F7883630}" srcOrd="1" destOrd="0" parTransId="{1AB2A12B-E48A-41D5-81D1-7C9F65D583AD}" sibTransId="{0EC7FB03-3565-46C5-90CC-B9FE52627E4F}"/>
    <dgm:cxn modelId="{FF502921-0465-4B20-A68E-C2CC8C631C79}" type="presOf" srcId="{FBD9EA8B-EDA5-46FD-B55C-75E0F7883630}" destId="{8B17E261-8EFC-4F90-96A6-D844DD47BC25}" srcOrd="0" destOrd="0" presId="urn:microsoft.com/office/officeart/2005/8/layout/process1"/>
    <dgm:cxn modelId="{06B3CB2D-FCC3-4C17-8BA6-A3205ABD8F81}" type="presOf" srcId="{0EC7FB03-3565-46C5-90CC-B9FE52627E4F}" destId="{11A347EF-5352-4722-B048-C90D03761350}" srcOrd="1" destOrd="0" presId="urn:microsoft.com/office/officeart/2005/8/layout/process1"/>
    <dgm:cxn modelId="{A6F8CA30-DBDD-40ED-9F53-B7D46061F86E}" type="presOf" srcId="{61196FF0-5024-4B00-A678-8268B62729F3}" destId="{5A3B0583-C81F-400A-B8A3-5C93BA46C4A7}" srcOrd="0" destOrd="0" presId="urn:microsoft.com/office/officeart/2005/8/layout/process1"/>
    <dgm:cxn modelId="{C7682C40-73D4-4F0C-AB43-DB0368375DE5}" type="presOf" srcId="{9826AC62-3A83-4285-B8EA-73D21641DF40}" destId="{87E564A9-2E9D-4FBC-8EAC-A5BCDB4A4A59}" srcOrd="1" destOrd="0" presId="urn:microsoft.com/office/officeart/2005/8/layout/process1"/>
    <dgm:cxn modelId="{16D64956-836F-4031-8E5B-1A145407DFC5}" type="presOf" srcId="{235218D8-7BBE-4135-A9C9-7BE70E2D01CB}" destId="{F99B1671-035B-4780-BC3C-FCA6808504A9}" srcOrd="0" destOrd="0" presId="urn:microsoft.com/office/officeart/2005/8/layout/process1"/>
    <dgm:cxn modelId="{BD6A145E-A401-4444-ABF7-79B16ABF73E4}" type="presOf" srcId="{61196FF0-5024-4B00-A678-8268B62729F3}" destId="{694B8F39-0FDD-4C4D-B860-27157795CC6F}" srcOrd="1" destOrd="0" presId="urn:microsoft.com/office/officeart/2005/8/layout/process1"/>
    <dgm:cxn modelId="{67C86081-16EF-4263-BADC-E7B23BBA8AE4}" srcId="{B9A198D4-B5FD-4F88-A93B-F30AF8D17020}" destId="{CD7C1BD9-7CDA-40B9-A859-E58EFF429C3A}" srcOrd="0" destOrd="0" parTransId="{297BBC3E-A0C0-4BF5-9714-DA7CF65B4599}" sibTransId="{61196FF0-5024-4B00-A678-8268B62729F3}"/>
    <dgm:cxn modelId="{03940394-09C7-4C19-9921-4E8628FDDB62}" srcId="{B9A198D4-B5FD-4F88-A93B-F30AF8D17020}" destId="{235218D8-7BBE-4135-A9C9-7BE70E2D01CB}" srcOrd="2" destOrd="0" parTransId="{CAF87809-A11E-4F86-8AA8-737838065950}" sibTransId="{9826AC62-3A83-4285-B8EA-73D21641DF40}"/>
    <dgm:cxn modelId="{B22F79CE-E809-4352-96A0-4D1A09BACF92}" srcId="{B9A198D4-B5FD-4F88-A93B-F30AF8D17020}" destId="{899B3F4D-EBB9-4205-BA2C-5396DF0F5126}" srcOrd="3" destOrd="0" parTransId="{964A2855-3295-42CB-B4BF-945841BF064D}" sibTransId="{990F7E3D-DFDC-47DA-B7D7-DB19888F0259}"/>
    <dgm:cxn modelId="{601A9FEA-D2E9-4ACA-8A82-AEFD1F395C7E}" type="presOf" srcId="{9826AC62-3A83-4285-B8EA-73D21641DF40}" destId="{FAB20AE8-A97A-48BC-B73E-D2BE09CBDCCC}" srcOrd="0" destOrd="0" presId="urn:microsoft.com/office/officeart/2005/8/layout/process1"/>
    <dgm:cxn modelId="{FB088DF7-C962-43B7-983C-E7DE80370701}" type="presOf" srcId="{B9A198D4-B5FD-4F88-A93B-F30AF8D17020}" destId="{5B3A53AA-E520-4351-887F-37FCFC61C90F}" srcOrd="0" destOrd="0" presId="urn:microsoft.com/office/officeart/2005/8/layout/process1"/>
    <dgm:cxn modelId="{6FCB06F9-C299-4BC4-89BA-1B17F95BDCB0}" type="presOf" srcId="{0EC7FB03-3565-46C5-90CC-B9FE52627E4F}" destId="{1F17EA50-77AB-4DC3-A195-85A2E211EBE5}" srcOrd="0" destOrd="0" presId="urn:microsoft.com/office/officeart/2005/8/layout/process1"/>
    <dgm:cxn modelId="{E0981822-F25C-4AC7-AA43-486991E21F1E}" type="presParOf" srcId="{5B3A53AA-E520-4351-887F-37FCFC61C90F}" destId="{DECD5388-54DE-4944-BAF8-3D0FBDC2E6D4}" srcOrd="0" destOrd="0" presId="urn:microsoft.com/office/officeart/2005/8/layout/process1"/>
    <dgm:cxn modelId="{B0C7CB46-54B3-4E02-AEA3-06D8834D3BFA}" type="presParOf" srcId="{5B3A53AA-E520-4351-887F-37FCFC61C90F}" destId="{5A3B0583-C81F-400A-B8A3-5C93BA46C4A7}" srcOrd="1" destOrd="0" presId="urn:microsoft.com/office/officeart/2005/8/layout/process1"/>
    <dgm:cxn modelId="{29F34A1B-268C-4348-B78A-3B6B4CB3BC36}" type="presParOf" srcId="{5A3B0583-C81F-400A-B8A3-5C93BA46C4A7}" destId="{694B8F39-0FDD-4C4D-B860-27157795CC6F}" srcOrd="0" destOrd="0" presId="urn:microsoft.com/office/officeart/2005/8/layout/process1"/>
    <dgm:cxn modelId="{8611CBE4-2E9A-4F95-B79C-FDB2B9CF1ED6}" type="presParOf" srcId="{5B3A53AA-E520-4351-887F-37FCFC61C90F}" destId="{8B17E261-8EFC-4F90-96A6-D844DD47BC25}" srcOrd="2" destOrd="0" presId="urn:microsoft.com/office/officeart/2005/8/layout/process1"/>
    <dgm:cxn modelId="{662D0622-B2A7-4B4F-B619-FD46510BAFA2}" type="presParOf" srcId="{5B3A53AA-E520-4351-887F-37FCFC61C90F}" destId="{1F17EA50-77AB-4DC3-A195-85A2E211EBE5}" srcOrd="3" destOrd="0" presId="urn:microsoft.com/office/officeart/2005/8/layout/process1"/>
    <dgm:cxn modelId="{D9F63408-AB3B-4F08-B3E6-772F4DD6CB59}" type="presParOf" srcId="{1F17EA50-77AB-4DC3-A195-85A2E211EBE5}" destId="{11A347EF-5352-4722-B048-C90D03761350}" srcOrd="0" destOrd="0" presId="urn:microsoft.com/office/officeart/2005/8/layout/process1"/>
    <dgm:cxn modelId="{B4C6AC4D-3FD0-4BCE-B670-3E8442E6F7B6}" type="presParOf" srcId="{5B3A53AA-E520-4351-887F-37FCFC61C90F}" destId="{F99B1671-035B-4780-BC3C-FCA6808504A9}" srcOrd="4" destOrd="0" presId="urn:microsoft.com/office/officeart/2005/8/layout/process1"/>
    <dgm:cxn modelId="{46A856E5-5CE8-4E4E-8140-21816F47A1ED}" type="presParOf" srcId="{5B3A53AA-E520-4351-887F-37FCFC61C90F}" destId="{FAB20AE8-A97A-48BC-B73E-D2BE09CBDCCC}" srcOrd="5" destOrd="0" presId="urn:microsoft.com/office/officeart/2005/8/layout/process1"/>
    <dgm:cxn modelId="{5218C935-80A8-40A5-9D66-4847EE90549F}" type="presParOf" srcId="{FAB20AE8-A97A-48BC-B73E-D2BE09CBDCCC}" destId="{87E564A9-2E9D-4FBC-8EAC-A5BCDB4A4A59}" srcOrd="0" destOrd="0" presId="urn:microsoft.com/office/officeart/2005/8/layout/process1"/>
    <dgm:cxn modelId="{DDF60072-21C5-4CD8-80FF-57F71B03396B}" type="presParOf" srcId="{5B3A53AA-E520-4351-887F-37FCFC61C90F}" destId="{A6B3CFB8-25A1-4EC4-A0CF-2C13BB6AAF77}" srcOrd="6"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C28B5D-E599-4CA7-B759-015AC7847431}" type="doc">
      <dgm:prSet loTypeId="urn:microsoft.com/office/officeart/2005/8/layout/cycle7" loCatId="cycle" qsTypeId="urn:microsoft.com/office/officeart/2005/8/quickstyle/simple1" qsCatId="simple" csTypeId="urn:microsoft.com/office/officeart/2005/8/colors/accent1_2" csCatId="accent1" phldr="1"/>
      <dgm:spPr/>
      <dgm:t>
        <a:bodyPr/>
        <a:lstStyle/>
        <a:p>
          <a:endParaRPr lang="en-US"/>
        </a:p>
      </dgm:t>
    </dgm:pt>
    <dgm:pt modelId="{57C6D7A7-1C54-4B42-92BC-4D3852CCBE6B}">
      <dgm:prSet phldrT="[Text]"/>
      <dgm:spPr/>
      <dgm:t>
        <a:bodyPr/>
        <a:lstStyle/>
        <a:p>
          <a:r>
            <a:rPr lang="it-IT" dirty="0"/>
            <a:t>APPLICAZIONE API</a:t>
          </a:r>
          <a:endParaRPr lang="en-US" dirty="0"/>
        </a:p>
      </dgm:t>
    </dgm:pt>
    <dgm:pt modelId="{B2E678BE-E371-4FF0-8EF4-A157ED3057F0}" type="parTrans" cxnId="{6A9795FE-65D3-42E5-9A66-8483F87370C2}">
      <dgm:prSet/>
      <dgm:spPr/>
      <dgm:t>
        <a:bodyPr/>
        <a:lstStyle/>
        <a:p>
          <a:endParaRPr lang="en-US"/>
        </a:p>
      </dgm:t>
    </dgm:pt>
    <dgm:pt modelId="{828C97C9-E069-487F-93BE-4605C73CD87C}" type="sibTrans" cxnId="{6A9795FE-65D3-42E5-9A66-8483F87370C2}">
      <dgm:prSet/>
      <dgm:spPr/>
      <dgm:t>
        <a:bodyPr/>
        <a:lstStyle/>
        <a:p>
          <a:endParaRPr lang="en-US"/>
        </a:p>
      </dgm:t>
    </dgm:pt>
    <dgm:pt modelId="{235FC171-BA61-4D33-9707-893BD1607FA4}">
      <dgm:prSet phldrT="[Text]"/>
      <dgm:spPr/>
      <dgm:t>
        <a:bodyPr/>
        <a:lstStyle/>
        <a:p>
          <a:r>
            <a:rPr lang="it-IT" dirty="0"/>
            <a:t>CUBBIT API</a:t>
          </a:r>
          <a:endParaRPr lang="en-US" dirty="0"/>
        </a:p>
      </dgm:t>
    </dgm:pt>
    <dgm:pt modelId="{0CF3BECB-8038-41C8-B558-3C7EAACBAF1E}" type="parTrans" cxnId="{D7D0BADB-6327-41F2-A875-C6CC206DEF82}">
      <dgm:prSet/>
      <dgm:spPr/>
      <dgm:t>
        <a:bodyPr/>
        <a:lstStyle/>
        <a:p>
          <a:endParaRPr lang="en-US"/>
        </a:p>
      </dgm:t>
    </dgm:pt>
    <dgm:pt modelId="{0AB35D72-8C51-4B97-881D-4B9069817F09}" type="sibTrans" cxnId="{D7D0BADB-6327-41F2-A875-C6CC206DEF82}">
      <dgm:prSet/>
      <dgm:spPr/>
      <dgm:t>
        <a:bodyPr/>
        <a:lstStyle/>
        <a:p>
          <a:endParaRPr lang="en-US"/>
        </a:p>
      </dgm:t>
    </dgm:pt>
    <dgm:pt modelId="{C9C7398C-2107-4B5D-8722-330DE6F416B7}">
      <dgm:prSet phldrT="[Text]"/>
      <dgm:spPr/>
      <dgm:t>
        <a:bodyPr/>
        <a:lstStyle/>
        <a:p>
          <a:r>
            <a:rPr lang="it-IT" dirty="0"/>
            <a:t>AMAZON S3 API</a:t>
          </a:r>
          <a:endParaRPr lang="en-US" dirty="0"/>
        </a:p>
      </dgm:t>
    </dgm:pt>
    <dgm:pt modelId="{EF8D0563-E116-4A33-A273-B3AAD1723D03}" type="parTrans" cxnId="{253564D6-00EC-4DEE-B82B-02EFB2FAD81B}">
      <dgm:prSet/>
      <dgm:spPr/>
      <dgm:t>
        <a:bodyPr/>
        <a:lstStyle/>
        <a:p>
          <a:endParaRPr lang="en-US"/>
        </a:p>
      </dgm:t>
    </dgm:pt>
    <dgm:pt modelId="{59084185-C455-4B9F-B094-F940DA77C2FF}" type="sibTrans" cxnId="{253564D6-00EC-4DEE-B82B-02EFB2FAD81B}">
      <dgm:prSet/>
      <dgm:spPr/>
      <dgm:t>
        <a:bodyPr/>
        <a:lstStyle/>
        <a:p>
          <a:endParaRPr lang="en-US"/>
        </a:p>
      </dgm:t>
    </dgm:pt>
    <dgm:pt modelId="{958FFEED-C813-43F2-947B-6ADD7DD45E86}" type="pres">
      <dgm:prSet presAssocID="{01C28B5D-E599-4CA7-B759-015AC7847431}" presName="Name0" presStyleCnt="0">
        <dgm:presLayoutVars>
          <dgm:dir/>
          <dgm:resizeHandles val="exact"/>
        </dgm:presLayoutVars>
      </dgm:prSet>
      <dgm:spPr/>
    </dgm:pt>
    <dgm:pt modelId="{E05C4080-DAEE-462A-AF4B-4854268B0651}" type="pres">
      <dgm:prSet presAssocID="{57C6D7A7-1C54-4B42-92BC-4D3852CCBE6B}" presName="node" presStyleLbl="node1" presStyleIdx="0" presStyleCnt="3">
        <dgm:presLayoutVars>
          <dgm:bulletEnabled val="1"/>
        </dgm:presLayoutVars>
      </dgm:prSet>
      <dgm:spPr/>
    </dgm:pt>
    <dgm:pt modelId="{3FBAA9F0-FE7E-4F23-9399-B49AE7874D31}" type="pres">
      <dgm:prSet presAssocID="{828C97C9-E069-487F-93BE-4605C73CD87C}" presName="sibTrans" presStyleLbl="sibTrans2D1" presStyleIdx="0" presStyleCnt="3"/>
      <dgm:spPr/>
    </dgm:pt>
    <dgm:pt modelId="{6B08C52B-2951-4315-AC7C-D43AAD64C860}" type="pres">
      <dgm:prSet presAssocID="{828C97C9-E069-487F-93BE-4605C73CD87C}" presName="connectorText" presStyleLbl="sibTrans2D1" presStyleIdx="0" presStyleCnt="3"/>
      <dgm:spPr/>
    </dgm:pt>
    <dgm:pt modelId="{A2E2B65E-6DFA-41EB-9A05-A66E22F21A3E}" type="pres">
      <dgm:prSet presAssocID="{235FC171-BA61-4D33-9707-893BD1607FA4}" presName="node" presStyleLbl="node1" presStyleIdx="1" presStyleCnt="3">
        <dgm:presLayoutVars>
          <dgm:bulletEnabled val="1"/>
        </dgm:presLayoutVars>
      </dgm:prSet>
      <dgm:spPr/>
    </dgm:pt>
    <dgm:pt modelId="{F21B6F4C-5EF6-4574-B809-05F35B6A1DBA}" type="pres">
      <dgm:prSet presAssocID="{0AB35D72-8C51-4B97-881D-4B9069817F09}" presName="sibTrans" presStyleLbl="sibTrans2D1" presStyleIdx="1" presStyleCnt="3"/>
      <dgm:spPr/>
    </dgm:pt>
    <dgm:pt modelId="{7E807F76-094D-42AC-9873-EFA0E20AFAD0}" type="pres">
      <dgm:prSet presAssocID="{0AB35D72-8C51-4B97-881D-4B9069817F09}" presName="connectorText" presStyleLbl="sibTrans2D1" presStyleIdx="1" presStyleCnt="3"/>
      <dgm:spPr/>
    </dgm:pt>
    <dgm:pt modelId="{4A4E4BEB-E126-4C53-A026-78732994D9B2}" type="pres">
      <dgm:prSet presAssocID="{C9C7398C-2107-4B5D-8722-330DE6F416B7}" presName="node" presStyleLbl="node1" presStyleIdx="2" presStyleCnt="3">
        <dgm:presLayoutVars>
          <dgm:bulletEnabled val="1"/>
        </dgm:presLayoutVars>
      </dgm:prSet>
      <dgm:spPr/>
    </dgm:pt>
    <dgm:pt modelId="{F943C245-17C0-4A0F-BDB5-7E085545A299}" type="pres">
      <dgm:prSet presAssocID="{59084185-C455-4B9F-B094-F940DA77C2FF}" presName="sibTrans" presStyleLbl="sibTrans2D1" presStyleIdx="2" presStyleCnt="3"/>
      <dgm:spPr/>
    </dgm:pt>
    <dgm:pt modelId="{C44DE17B-EE1B-4E44-AC51-321B5109074B}" type="pres">
      <dgm:prSet presAssocID="{59084185-C455-4B9F-B094-F940DA77C2FF}" presName="connectorText" presStyleLbl="sibTrans2D1" presStyleIdx="2" presStyleCnt="3"/>
      <dgm:spPr/>
    </dgm:pt>
  </dgm:ptLst>
  <dgm:cxnLst>
    <dgm:cxn modelId="{6CCB3F1A-466C-4A49-AC51-B39892583EFE}" type="presOf" srcId="{57C6D7A7-1C54-4B42-92BC-4D3852CCBE6B}" destId="{E05C4080-DAEE-462A-AF4B-4854268B0651}" srcOrd="0" destOrd="0" presId="urn:microsoft.com/office/officeart/2005/8/layout/cycle7"/>
    <dgm:cxn modelId="{BB700326-6C08-4861-B86E-1C5C11C66CF8}" type="presOf" srcId="{C9C7398C-2107-4B5D-8722-330DE6F416B7}" destId="{4A4E4BEB-E126-4C53-A026-78732994D9B2}" srcOrd="0" destOrd="0" presId="urn:microsoft.com/office/officeart/2005/8/layout/cycle7"/>
    <dgm:cxn modelId="{D21E0731-5610-427E-98C9-DBBE1517093F}" type="presOf" srcId="{59084185-C455-4B9F-B094-F940DA77C2FF}" destId="{F943C245-17C0-4A0F-BDB5-7E085545A299}" srcOrd="0" destOrd="0" presId="urn:microsoft.com/office/officeart/2005/8/layout/cycle7"/>
    <dgm:cxn modelId="{DE74FC3D-ABF5-4512-8AEB-601E48B7E41C}" type="presOf" srcId="{235FC171-BA61-4D33-9707-893BD1607FA4}" destId="{A2E2B65E-6DFA-41EB-9A05-A66E22F21A3E}" srcOrd="0" destOrd="0" presId="urn:microsoft.com/office/officeart/2005/8/layout/cycle7"/>
    <dgm:cxn modelId="{9273C04C-D733-48ED-B0C3-A5CEA2C82EDA}" type="presOf" srcId="{0AB35D72-8C51-4B97-881D-4B9069817F09}" destId="{F21B6F4C-5EF6-4574-B809-05F35B6A1DBA}" srcOrd="0" destOrd="0" presId="urn:microsoft.com/office/officeart/2005/8/layout/cycle7"/>
    <dgm:cxn modelId="{BC23B352-08F6-4799-AC21-90CF9A750F93}" type="presOf" srcId="{0AB35D72-8C51-4B97-881D-4B9069817F09}" destId="{7E807F76-094D-42AC-9873-EFA0E20AFAD0}" srcOrd="1" destOrd="0" presId="urn:microsoft.com/office/officeart/2005/8/layout/cycle7"/>
    <dgm:cxn modelId="{4D3798C5-0E30-4DEF-92CD-D9294FCB2BC5}" type="presOf" srcId="{01C28B5D-E599-4CA7-B759-015AC7847431}" destId="{958FFEED-C813-43F2-947B-6ADD7DD45E86}" srcOrd="0" destOrd="0" presId="urn:microsoft.com/office/officeart/2005/8/layout/cycle7"/>
    <dgm:cxn modelId="{253564D6-00EC-4DEE-B82B-02EFB2FAD81B}" srcId="{01C28B5D-E599-4CA7-B759-015AC7847431}" destId="{C9C7398C-2107-4B5D-8722-330DE6F416B7}" srcOrd="2" destOrd="0" parTransId="{EF8D0563-E116-4A33-A273-B3AAD1723D03}" sibTransId="{59084185-C455-4B9F-B094-F940DA77C2FF}"/>
    <dgm:cxn modelId="{D7D0BADB-6327-41F2-A875-C6CC206DEF82}" srcId="{01C28B5D-E599-4CA7-B759-015AC7847431}" destId="{235FC171-BA61-4D33-9707-893BD1607FA4}" srcOrd="1" destOrd="0" parTransId="{0CF3BECB-8038-41C8-B558-3C7EAACBAF1E}" sibTransId="{0AB35D72-8C51-4B97-881D-4B9069817F09}"/>
    <dgm:cxn modelId="{7ECA1DE2-AED0-4500-8137-A2D2C032346F}" type="presOf" srcId="{828C97C9-E069-487F-93BE-4605C73CD87C}" destId="{6B08C52B-2951-4315-AC7C-D43AAD64C860}" srcOrd="1" destOrd="0" presId="urn:microsoft.com/office/officeart/2005/8/layout/cycle7"/>
    <dgm:cxn modelId="{A61FE3EA-1354-4BB0-8960-CCD19E49F1CD}" type="presOf" srcId="{828C97C9-E069-487F-93BE-4605C73CD87C}" destId="{3FBAA9F0-FE7E-4F23-9399-B49AE7874D31}" srcOrd="0" destOrd="0" presId="urn:microsoft.com/office/officeart/2005/8/layout/cycle7"/>
    <dgm:cxn modelId="{81ED93FC-667C-4492-92AA-E5AFF7736713}" type="presOf" srcId="{59084185-C455-4B9F-B094-F940DA77C2FF}" destId="{C44DE17B-EE1B-4E44-AC51-321B5109074B}" srcOrd="1" destOrd="0" presId="urn:microsoft.com/office/officeart/2005/8/layout/cycle7"/>
    <dgm:cxn modelId="{6A9795FE-65D3-42E5-9A66-8483F87370C2}" srcId="{01C28B5D-E599-4CA7-B759-015AC7847431}" destId="{57C6D7A7-1C54-4B42-92BC-4D3852CCBE6B}" srcOrd="0" destOrd="0" parTransId="{B2E678BE-E371-4FF0-8EF4-A157ED3057F0}" sibTransId="{828C97C9-E069-487F-93BE-4605C73CD87C}"/>
    <dgm:cxn modelId="{3A4CD07B-786F-4E1A-923F-35945B515A09}" type="presParOf" srcId="{958FFEED-C813-43F2-947B-6ADD7DD45E86}" destId="{E05C4080-DAEE-462A-AF4B-4854268B0651}" srcOrd="0" destOrd="0" presId="urn:microsoft.com/office/officeart/2005/8/layout/cycle7"/>
    <dgm:cxn modelId="{59677E35-2B0F-4E0B-B085-335BC0B71F9B}" type="presParOf" srcId="{958FFEED-C813-43F2-947B-6ADD7DD45E86}" destId="{3FBAA9F0-FE7E-4F23-9399-B49AE7874D31}" srcOrd="1" destOrd="0" presId="urn:microsoft.com/office/officeart/2005/8/layout/cycle7"/>
    <dgm:cxn modelId="{E600407E-96F7-4DD4-B665-7853A812AFC4}" type="presParOf" srcId="{3FBAA9F0-FE7E-4F23-9399-B49AE7874D31}" destId="{6B08C52B-2951-4315-AC7C-D43AAD64C860}" srcOrd="0" destOrd="0" presId="urn:microsoft.com/office/officeart/2005/8/layout/cycle7"/>
    <dgm:cxn modelId="{090A0E25-1B86-4E70-BFBD-87A21EBD5CAB}" type="presParOf" srcId="{958FFEED-C813-43F2-947B-6ADD7DD45E86}" destId="{A2E2B65E-6DFA-41EB-9A05-A66E22F21A3E}" srcOrd="2" destOrd="0" presId="urn:microsoft.com/office/officeart/2005/8/layout/cycle7"/>
    <dgm:cxn modelId="{C1F2E2BD-262D-4B18-BDA1-2E3A1C8BDB02}" type="presParOf" srcId="{958FFEED-C813-43F2-947B-6ADD7DD45E86}" destId="{F21B6F4C-5EF6-4574-B809-05F35B6A1DBA}" srcOrd="3" destOrd="0" presId="urn:microsoft.com/office/officeart/2005/8/layout/cycle7"/>
    <dgm:cxn modelId="{7A249C2A-5B71-4939-953F-26B4DA694430}" type="presParOf" srcId="{F21B6F4C-5EF6-4574-B809-05F35B6A1DBA}" destId="{7E807F76-094D-42AC-9873-EFA0E20AFAD0}" srcOrd="0" destOrd="0" presId="urn:microsoft.com/office/officeart/2005/8/layout/cycle7"/>
    <dgm:cxn modelId="{ED3630F9-CC43-4EF9-9C29-9BB43ACF7780}" type="presParOf" srcId="{958FFEED-C813-43F2-947B-6ADD7DD45E86}" destId="{4A4E4BEB-E126-4C53-A026-78732994D9B2}" srcOrd="4" destOrd="0" presId="urn:microsoft.com/office/officeart/2005/8/layout/cycle7"/>
    <dgm:cxn modelId="{20AB20A8-0FFA-4A67-A98C-996D891270B4}" type="presParOf" srcId="{958FFEED-C813-43F2-947B-6ADD7DD45E86}" destId="{F943C245-17C0-4A0F-BDB5-7E085545A299}" srcOrd="5" destOrd="0" presId="urn:microsoft.com/office/officeart/2005/8/layout/cycle7"/>
    <dgm:cxn modelId="{CD243E01-81CA-4732-8157-C0873F23A810}" type="presParOf" srcId="{F943C245-17C0-4A0F-BDB5-7E085545A299}" destId="{C44DE17B-EE1B-4E44-AC51-321B5109074B}" srcOrd="0" destOrd="0" presId="urn:microsoft.com/office/officeart/2005/8/layout/cycle7"/>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9A198D4-B5FD-4F88-A93B-F30AF8D17020}" type="doc">
      <dgm:prSet loTypeId="urn:microsoft.com/office/officeart/2005/8/layout/process1" loCatId="process" qsTypeId="urn:microsoft.com/office/officeart/2005/8/quickstyle/simple1" qsCatId="simple" csTypeId="urn:microsoft.com/office/officeart/2005/8/colors/accent1_2" csCatId="accent1" phldr="1"/>
      <dgm:spPr/>
    </dgm:pt>
    <dgm:pt modelId="{CD7C1BD9-7CDA-40B9-A859-E58EFF429C3A}">
      <dgm:prSet phldrT="[Text]"/>
      <dgm:spPr/>
      <dgm:t>
        <a:bodyPr/>
        <a:lstStyle/>
        <a:p>
          <a:pPr rtl="0"/>
          <a:r>
            <a:rPr lang="it-IT" dirty="0"/>
            <a:t>Applicazione recupera</a:t>
          </a:r>
          <a:r>
            <a:rPr lang="it-IT" b="0" i="0" dirty="0"/>
            <a:t> i file </a:t>
          </a:r>
          <a:r>
            <a:rPr lang="it-IT" dirty="0"/>
            <a:t>disponibili sul bucket S3 tramite API AWS «</a:t>
          </a:r>
          <a:r>
            <a:rPr lang="en-US" b="0" i="0" dirty="0"/>
            <a:t>com.amazonaws.services.s3</a:t>
          </a:r>
          <a:r>
            <a:rPr lang="it-IT" dirty="0"/>
            <a:t>»  </a:t>
          </a:r>
          <a:endParaRPr lang="en-US" dirty="0"/>
        </a:p>
      </dgm:t>
    </dgm:pt>
    <dgm:pt modelId="{297BBC3E-A0C0-4BF5-9714-DA7CF65B4599}" type="parTrans" cxnId="{67C86081-16EF-4263-BADC-E7B23BBA8AE4}">
      <dgm:prSet/>
      <dgm:spPr/>
      <dgm:t>
        <a:bodyPr/>
        <a:lstStyle/>
        <a:p>
          <a:endParaRPr lang="en-US"/>
        </a:p>
      </dgm:t>
    </dgm:pt>
    <dgm:pt modelId="{61196FF0-5024-4B00-A678-8268B62729F3}" type="sibTrans" cxnId="{67C86081-16EF-4263-BADC-E7B23BBA8AE4}">
      <dgm:prSet/>
      <dgm:spPr/>
      <dgm:t>
        <a:bodyPr/>
        <a:lstStyle/>
        <a:p>
          <a:endParaRPr lang="en-US"/>
        </a:p>
      </dgm:t>
    </dgm:pt>
    <dgm:pt modelId="{FBD9EA8B-EDA5-46FD-B55C-75E0F7883630}">
      <dgm:prSet phldrT="[Text]"/>
      <dgm:spPr/>
      <dgm:t>
        <a:bodyPr/>
        <a:lstStyle/>
        <a:p>
          <a:r>
            <a:rPr lang="it-IT" dirty="0"/>
            <a:t>L'utente sceglie un file tra quelli disponibili</a:t>
          </a:r>
          <a:endParaRPr lang="en-US" dirty="0"/>
        </a:p>
      </dgm:t>
    </dgm:pt>
    <dgm:pt modelId="{1AB2A12B-E48A-41D5-81D1-7C9F65D583AD}" type="parTrans" cxnId="{F3AA6418-68B0-4382-B3A4-0A61163E7E08}">
      <dgm:prSet/>
      <dgm:spPr/>
      <dgm:t>
        <a:bodyPr/>
        <a:lstStyle/>
        <a:p>
          <a:endParaRPr lang="en-US"/>
        </a:p>
      </dgm:t>
    </dgm:pt>
    <dgm:pt modelId="{0EC7FB03-3565-46C5-90CC-B9FE52627E4F}" type="sibTrans" cxnId="{F3AA6418-68B0-4382-B3A4-0A61163E7E08}">
      <dgm:prSet/>
      <dgm:spPr/>
      <dgm:t>
        <a:bodyPr/>
        <a:lstStyle/>
        <a:p>
          <a:endParaRPr lang="en-US"/>
        </a:p>
      </dgm:t>
    </dgm:pt>
    <dgm:pt modelId="{235218D8-7BBE-4135-A9C9-7BE70E2D01CB}">
      <dgm:prSet phldrT="[Text]"/>
      <dgm:spPr/>
      <dgm:t>
        <a:bodyPr/>
        <a:lstStyle/>
        <a:p>
          <a:r>
            <a:rPr lang="it-IT" dirty="0"/>
            <a:t>L'utente richiede il trasferimento del </a:t>
          </a:r>
          <a:r>
            <a:rPr lang="it-IT" b="0" i="0" dirty="0"/>
            <a:t>file verso </a:t>
          </a:r>
          <a:r>
            <a:rPr lang="it-IT" dirty="0"/>
            <a:t>CUBBIT con l'API «</a:t>
          </a:r>
          <a:r>
            <a:rPr lang="en-US" b="0" i="0" dirty="0"/>
            <a:t>https://s3.cubbit.eu</a:t>
          </a:r>
          <a:r>
            <a:rPr lang="it-IT" dirty="0"/>
            <a:t>»</a:t>
          </a:r>
          <a:endParaRPr lang="en-US" dirty="0"/>
        </a:p>
      </dgm:t>
    </dgm:pt>
    <dgm:pt modelId="{CAF87809-A11E-4F86-8AA8-737838065950}" type="parTrans" cxnId="{03940394-09C7-4C19-9921-4E8628FDDB62}">
      <dgm:prSet/>
      <dgm:spPr/>
      <dgm:t>
        <a:bodyPr/>
        <a:lstStyle/>
        <a:p>
          <a:endParaRPr lang="en-US"/>
        </a:p>
      </dgm:t>
    </dgm:pt>
    <dgm:pt modelId="{9826AC62-3A83-4285-B8EA-73D21641DF40}" type="sibTrans" cxnId="{03940394-09C7-4C19-9921-4E8628FDDB62}">
      <dgm:prSet/>
      <dgm:spPr/>
      <dgm:t>
        <a:bodyPr/>
        <a:lstStyle/>
        <a:p>
          <a:endParaRPr lang="en-US"/>
        </a:p>
      </dgm:t>
    </dgm:pt>
    <dgm:pt modelId="{4F2AE8F1-2B49-4029-9637-61122CCD7E87}">
      <dgm:prSet phldrT="[Text]"/>
      <dgm:spPr/>
      <dgm:t>
        <a:bodyPr/>
        <a:lstStyle/>
        <a:p>
          <a:r>
            <a:rPr lang="it-IT" dirty="0"/>
            <a:t> A trasferimento avvenuto il file è disponibile sul bucket CUBBIT</a:t>
          </a:r>
          <a:endParaRPr lang="en-US" dirty="0"/>
        </a:p>
      </dgm:t>
    </dgm:pt>
    <dgm:pt modelId="{FBCC2C47-3353-4E58-9029-D358CB80725C}" type="parTrans" cxnId="{C9879E48-3A31-43D4-979C-1001D329B467}">
      <dgm:prSet/>
      <dgm:spPr/>
      <dgm:t>
        <a:bodyPr/>
        <a:lstStyle/>
        <a:p>
          <a:endParaRPr lang="en-US"/>
        </a:p>
      </dgm:t>
    </dgm:pt>
    <dgm:pt modelId="{8BCCC6FE-FF2B-457B-AF6A-2B7A14981D88}" type="sibTrans" cxnId="{C9879E48-3A31-43D4-979C-1001D329B467}">
      <dgm:prSet/>
      <dgm:spPr/>
      <dgm:t>
        <a:bodyPr/>
        <a:lstStyle/>
        <a:p>
          <a:endParaRPr lang="en-US"/>
        </a:p>
      </dgm:t>
    </dgm:pt>
    <dgm:pt modelId="{5B3A53AA-E520-4351-887F-37FCFC61C90F}" type="pres">
      <dgm:prSet presAssocID="{B9A198D4-B5FD-4F88-A93B-F30AF8D17020}" presName="Name0" presStyleCnt="0">
        <dgm:presLayoutVars>
          <dgm:dir/>
          <dgm:resizeHandles val="exact"/>
        </dgm:presLayoutVars>
      </dgm:prSet>
      <dgm:spPr/>
    </dgm:pt>
    <dgm:pt modelId="{DECD5388-54DE-4944-BAF8-3D0FBDC2E6D4}" type="pres">
      <dgm:prSet presAssocID="{CD7C1BD9-7CDA-40B9-A859-E58EFF429C3A}" presName="node" presStyleLbl="node1" presStyleIdx="0" presStyleCnt="4">
        <dgm:presLayoutVars>
          <dgm:bulletEnabled val="1"/>
        </dgm:presLayoutVars>
      </dgm:prSet>
      <dgm:spPr/>
    </dgm:pt>
    <dgm:pt modelId="{5A3B0583-C81F-400A-B8A3-5C93BA46C4A7}" type="pres">
      <dgm:prSet presAssocID="{61196FF0-5024-4B00-A678-8268B62729F3}" presName="sibTrans" presStyleLbl="sibTrans2D1" presStyleIdx="0" presStyleCnt="3"/>
      <dgm:spPr/>
    </dgm:pt>
    <dgm:pt modelId="{694B8F39-0FDD-4C4D-B860-27157795CC6F}" type="pres">
      <dgm:prSet presAssocID="{61196FF0-5024-4B00-A678-8268B62729F3}" presName="connectorText" presStyleLbl="sibTrans2D1" presStyleIdx="0" presStyleCnt="3"/>
      <dgm:spPr/>
    </dgm:pt>
    <dgm:pt modelId="{8B17E261-8EFC-4F90-96A6-D844DD47BC25}" type="pres">
      <dgm:prSet presAssocID="{FBD9EA8B-EDA5-46FD-B55C-75E0F7883630}" presName="node" presStyleLbl="node1" presStyleIdx="1" presStyleCnt="4" custLinFactNeighborY="0">
        <dgm:presLayoutVars>
          <dgm:bulletEnabled val="1"/>
        </dgm:presLayoutVars>
      </dgm:prSet>
      <dgm:spPr/>
    </dgm:pt>
    <dgm:pt modelId="{1F17EA50-77AB-4DC3-A195-85A2E211EBE5}" type="pres">
      <dgm:prSet presAssocID="{0EC7FB03-3565-46C5-90CC-B9FE52627E4F}" presName="sibTrans" presStyleLbl="sibTrans2D1" presStyleIdx="1" presStyleCnt="3"/>
      <dgm:spPr/>
    </dgm:pt>
    <dgm:pt modelId="{11A347EF-5352-4722-B048-C90D03761350}" type="pres">
      <dgm:prSet presAssocID="{0EC7FB03-3565-46C5-90CC-B9FE52627E4F}" presName="connectorText" presStyleLbl="sibTrans2D1" presStyleIdx="1" presStyleCnt="3"/>
      <dgm:spPr/>
    </dgm:pt>
    <dgm:pt modelId="{F99B1671-035B-4780-BC3C-FCA6808504A9}" type="pres">
      <dgm:prSet presAssocID="{235218D8-7BBE-4135-A9C9-7BE70E2D01CB}" presName="node" presStyleLbl="node1" presStyleIdx="2" presStyleCnt="4">
        <dgm:presLayoutVars>
          <dgm:bulletEnabled val="1"/>
        </dgm:presLayoutVars>
      </dgm:prSet>
      <dgm:spPr/>
    </dgm:pt>
    <dgm:pt modelId="{47F1C230-C45D-4F5B-B14E-1630EC7B647B}" type="pres">
      <dgm:prSet presAssocID="{9826AC62-3A83-4285-B8EA-73D21641DF40}" presName="sibTrans" presStyleLbl="sibTrans2D1" presStyleIdx="2" presStyleCnt="3"/>
      <dgm:spPr/>
    </dgm:pt>
    <dgm:pt modelId="{6A8D427D-54D2-430A-96AF-A1B33205CD84}" type="pres">
      <dgm:prSet presAssocID="{9826AC62-3A83-4285-B8EA-73D21641DF40}" presName="connectorText" presStyleLbl="sibTrans2D1" presStyleIdx="2" presStyleCnt="3"/>
      <dgm:spPr/>
    </dgm:pt>
    <dgm:pt modelId="{76CE1381-38EF-4CA9-BE74-D95A666D843E}" type="pres">
      <dgm:prSet presAssocID="{4F2AE8F1-2B49-4029-9637-61122CCD7E87}" presName="node" presStyleLbl="node1" presStyleIdx="3" presStyleCnt="4" custLinFactNeighborX="572" custLinFactNeighborY="5180">
        <dgm:presLayoutVars>
          <dgm:bulletEnabled val="1"/>
        </dgm:presLayoutVars>
      </dgm:prSet>
      <dgm:spPr/>
    </dgm:pt>
  </dgm:ptLst>
  <dgm:cxnLst>
    <dgm:cxn modelId="{F3AA6418-68B0-4382-B3A4-0A61163E7E08}" srcId="{B9A198D4-B5FD-4F88-A93B-F30AF8D17020}" destId="{FBD9EA8B-EDA5-46FD-B55C-75E0F7883630}" srcOrd="1" destOrd="0" parTransId="{1AB2A12B-E48A-41D5-81D1-7C9F65D583AD}" sibTransId="{0EC7FB03-3565-46C5-90CC-B9FE52627E4F}"/>
    <dgm:cxn modelId="{9F6B3836-C76C-4406-87B2-8C89936419BE}" type="presOf" srcId="{FBD9EA8B-EDA5-46FD-B55C-75E0F7883630}" destId="{8B17E261-8EFC-4F90-96A6-D844DD47BC25}" srcOrd="0" destOrd="0" presId="urn:microsoft.com/office/officeart/2005/8/layout/process1"/>
    <dgm:cxn modelId="{0BC1B637-9235-435C-AB44-1BD87E147E5E}" type="presOf" srcId="{235218D8-7BBE-4135-A9C9-7BE70E2D01CB}" destId="{F99B1671-035B-4780-BC3C-FCA6808504A9}" srcOrd="0" destOrd="0" presId="urn:microsoft.com/office/officeart/2005/8/layout/process1"/>
    <dgm:cxn modelId="{36F56B3B-A4BD-4911-8BB2-B2525363A351}" type="presOf" srcId="{9826AC62-3A83-4285-B8EA-73D21641DF40}" destId="{6A8D427D-54D2-430A-96AF-A1B33205CD84}" srcOrd="1" destOrd="0" presId="urn:microsoft.com/office/officeart/2005/8/layout/process1"/>
    <dgm:cxn modelId="{021F0F44-CFF9-426A-8BFF-D32FEC08F932}" type="presOf" srcId="{61196FF0-5024-4B00-A678-8268B62729F3}" destId="{694B8F39-0FDD-4C4D-B860-27157795CC6F}" srcOrd="1" destOrd="0" presId="urn:microsoft.com/office/officeart/2005/8/layout/process1"/>
    <dgm:cxn modelId="{1AF5F645-9F39-430C-8C44-5F6FBB24D950}" type="presOf" srcId="{9826AC62-3A83-4285-B8EA-73D21641DF40}" destId="{47F1C230-C45D-4F5B-B14E-1630EC7B647B}" srcOrd="0" destOrd="0" presId="urn:microsoft.com/office/officeart/2005/8/layout/process1"/>
    <dgm:cxn modelId="{C9879E48-3A31-43D4-979C-1001D329B467}" srcId="{B9A198D4-B5FD-4F88-A93B-F30AF8D17020}" destId="{4F2AE8F1-2B49-4029-9637-61122CCD7E87}" srcOrd="3" destOrd="0" parTransId="{FBCC2C47-3353-4E58-9029-D358CB80725C}" sibTransId="{8BCCC6FE-FF2B-457B-AF6A-2B7A14981D88}"/>
    <dgm:cxn modelId="{80A87F4D-FB9B-4835-BC89-C2A82862FD36}" type="presOf" srcId="{4F2AE8F1-2B49-4029-9637-61122CCD7E87}" destId="{76CE1381-38EF-4CA9-BE74-D95A666D843E}" srcOrd="0" destOrd="0" presId="urn:microsoft.com/office/officeart/2005/8/layout/process1"/>
    <dgm:cxn modelId="{67C86081-16EF-4263-BADC-E7B23BBA8AE4}" srcId="{B9A198D4-B5FD-4F88-A93B-F30AF8D17020}" destId="{CD7C1BD9-7CDA-40B9-A859-E58EFF429C3A}" srcOrd="0" destOrd="0" parTransId="{297BBC3E-A0C0-4BF5-9714-DA7CF65B4599}" sibTransId="{61196FF0-5024-4B00-A678-8268B62729F3}"/>
    <dgm:cxn modelId="{03940394-09C7-4C19-9921-4E8628FDDB62}" srcId="{B9A198D4-B5FD-4F88-A93B-F30AF8D17020}" destId="{235218D8-7BBE-4135-A9C9-7BE70E2D01CB}" srcOrd="2" destOrd="0" parTransId="{CAF87809-A11E-4F86-8AA8-737838065950}" sibTransId="{9826AC62-3A83-4285-B8EA-73D21641DF40}"/>
    <dgm:cxn modelId="{852114C9-F96F-4333-9366-3320EF75F29F}" type="presOf" srcId="{61196FF0-5024-4B00-A678-8268B62729F3}" destId="{5A3B0583-C81F-400A-B8A3-5C93BA46C4A7}" srcOrd="0" destOrd="0" presId="urn:microsoft.com/office/officeart/2005/8/layout/process1"/>
    <dgm:cxn modelId="{6ABB14D0-A0E4-447F-8A0A-2B6EFAF856A2}" type="presOf" srcId="{0EC7FB03-3565-46C5-90CC-B9FE52627E4F}" destId="{11A347EF-5352-4722-B048-C90D03761350}" srcOrd="1" destOrd="0" presId="urn:microsoft.com/office/officeart/2005/8/layout/process1"/>
    <dgm:cxn modelId="{6F6CC5DA-3DE1-46C1-8620-4AEF42767D48}" type="presOf" srcId="{0EC7FB03-3565-46C5-90CC-B9FE52627E4F}" destId="{1F17EA50-77AB-4DC3-A195-85A2E211EBE5}" srcOrd="0" destOrd="0" presId="urn:microsoft.com/office/officeart/2005/8/layout/process1"/>
    <dgm:cxn modelId="{CE868CE1-BF35-457C-A777-37E18D33CB21}" type="presOf" srcId="{CD7C1BD9-7CDA-40B9-A859-E58EFF429C3A}" destId="{DECD5388-54DE-4944-BAF8-3D0FBDC2E6D4}" srcOrd="0" destOrd="0" presId="urn:microsoft.com/office/officeart/2005/8/layout/process1"/>
    <dgm:cxn modelId="{FB088DF7-C962-43B7-983C-E7DE80370701}" type="presOf" srcId="{B9A198D4-B5FD-4F88-A93B-F30AF8D17020}" destId="{5B3A53AA-E520-4351-887F-37FCFC61C90F}" srcOrd="0" destOrd="0" presId="urn:microsoft.com/office/officeart/2005/8/layout/process1"/>
    <dgm:cxn modelId="{EF3B8347-8F2D-4580-89F6-12A0C1ED385D}" type="presParOf" srcId="{5B3A53AA-E520-4351-887F-37FCFC61C90F}" destId="{DECD5388-54DE-4944-BAF8-3D0FBDC2E6D4}" srcOrd="0" destOrd="0" presId="urn:microsoft.com/office/officeart/2005/8/layout/process1"/>
    <dgm:cxn modelId="{7C12E820-11D8-499B-8A82-57DD88F1F0DD}" type="presParOf" srcId="{5B3A53AA-E520-4351-887F-37FCFC61C90F}" destId="{5A3B0583-C81F-400A-B8A3-5C93BA46C4A7}" srcOrd="1" destOrd="0" presId="urn:microsoft.com/office/officeart/2005/8/layout/process1"/>
    <dgm:cxn modelId="{4478EA21-1066-420C-996B-15F6BFD29646}" type="presParOf" srcId="{5A3B0583-C81F-400A-B8A3-5C93BA46C4A7}" destId="{694B8F39-0FDD-4C4D-B860-27157795CC6F}" srcOrd="0" destOrd="0" presId="urn:microsoft.com/office/officeart/2005/8/layout/process1"/>
    <dgm:cxn modelId="{14CB0DBE-26EA-4AFA-933D-981246D69CE3}" type="presParOf" srcId="{5B3A53AA-E520-4351-887F-37FCFC61C90F}" destId="{8B17E261-8EFC-4F90-96A6-D844DD47BC25}" srcOrd="2" destOrd="0" presId="urn:microsoft.com/office/officeart/2005/8/layout/process1"/>
    <dgm:cxn modelId="{918ED7AB-84B2-4E69-8910-F5C265A1D92B}" type="presParOf" srcId="{5B3A53AA-E520-4351-887F-37FCFC61C90F}" destId="{1F17EA50-77AB-4DC3-A195-85A2E211EBE5}" srcOrd="3" destOrd="0" presId="urn:microsoft.com/office/officeart/2005/8/layout/process1"/>
    <dgm:cxn modelId="{9EF99103-6C26-4D2C-AA06-BE0EC201B759}" type="presParOf" srcId="{1F17EA50-77AB-4DC3-A195-85A2E211EBE5}" destId="{11A347EF-5352-4722-B048-C90D03761350}" srcOrd="0" destOrd="0" presId="urn:microsoft.com/office/officeart/2005/8/layout/process1"/>
    <dgm:cxn modelId="{20C1AD0D-94D0-4029-A33C-6739019FC80F}" type="presParOf" srcId="{5B3A53AA-E520-4351-887F-37FCFC61C90F}" destId="{F99B1671-035B-4780-BC3C-FCA6808504A9}" srcOrd="4" destOrd="0" presId="urn:microsoft.com/office/officeart/2005/8/layout/process1"/>
    <dgm:cxn modelId="{D98D7804-569A-45C4-A38C-BB2AEF2AD745}" type="presParOf" srcId="{5B3A53AA-E520-4351-887F-37FCFC61C90F}" destId="{47F1C230-C45D-4F5B-B14E-1630EC7B647B}" srcOrd="5" destOrd="0" presId="urn:microsoft.com/office/officeart/2005/8/layout/process1"/>
    <dgm:cxn modelId="{D8A6AA76-1236-40B1-A6D0-54C191573DCE}" type="presParOf" srcId="{47F1C230-C45D-4F5B-B14E-1630EC7B647B}" destId="{6A8D427D-54D2-430A-96AF-A1B33205CD84}" srcOrd="0" destOrd="0" presId="urn:microsoft.com/office/officeart/2005/8/layout/process1"/>
    <dgm:cxn modelId="{ABD9B09E-0A2B-46C7-8D7A-25A39E826A25}" type="presParOf" srcId="{5B3A53AA-E520-4351-887F-37FCFC61C90F}" destId="{76CE1381-38EF-4CA9-BE74-D95A666D843E}"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9A198D4-B5FD-4F88-A93B-F30AF8D17020}" type="doc">
      <dgm:prSet loTypeId="urn:microsoft.com/office/officeart/2005/8/layout/process1" loCatId="process" qsTypeId="urn:microsoft.com/office/officeart/2005/8/quickstyle/simple1" qsCatId="simple" csTypeId="urn:microsoft.com/office/officeart/2005/8/colors/accent1_2" csCatId="accent1" phldr="1"/>
      <dgm:spPr/>
    </dgm:pt>
    <dgm:pt modelId="{CD7C1BD9-7CDA-40B9-A859-E58EFF429C3A}">
      <dgm:prSet phldrT="[Text]"/>
      <dgm:spPr/>
      <dgm:t>
        <a:bodyPr/>
        <a:lstStyle/>
        <a:p>
          <a:pPr rtl="0"/>
          <a:r>
            <a:rPr lang="it-IT" dirty="0"/>
            <a:t>Applicazione recupera i </a:t>
          </a:r>
          <a:r>
            <a:rPr lang="it-IT" b="0" i="0" dirty="0"/>
            <a:t>file disponibili sul </a:t>
          </a:r>
          <a:r>
            <a:rPr lang="it-IT" dirty="0"/>
            <a:t>bucket</a:t>
          </a:r>
          <a:r>
            <a:rPr lang="it-IT" dirty="0">
              <a:latin typeface="Calibri"/>
            </a:rPr>
            <a:t> Cubbit </a:t>
          </a:r>
          <a:r>
            <a:rPr lang="it-IT" dirty="0"/>
            <a:t>«</a:t>
          </a:r>
          <a:r>
            <a:rPr lang="en-US" dirty="0"/>
            <a:t>https://s3.cubbit.eu</a:t>
          </a:r>
          <a:r>
            <a:rPr lang="it-IT" dirty="0"/>
            <a:t>»</a:t>
          </a:r>
          <a:r>
            <a:rPr lang="it-IT" dirty="0">
              <a:latin typeface="Calibri"/>
            </a:rPr>
            <a:t> </a:t>
          </a:r>
          <a:endParaRPr lang="en-US" dirty="0">
            <a:latin typeface="Calibri"/>
          </a:endParaRPr>
        </a:p>
      </dgm:t>
    </dgm:pt>
    <dgm:pt modelId="{297BBC3E-A0C0-4BF5-9714-DA7CF65B4599}" type="parTrans" cxnId="{67C86081-16EF-4263-BADC-E7B23BBA8AE4}">
      <dgm:prSet/>
      <dgm:spPr/>
      <dgm:t>
        <a:bodyPr/>
        <a:lstStyle/>
        <a:p>
          <a:endParaRPr lang="en-US"/>
        </a:p>
      </dgm:t>
    </dgm:pt>
    <dgm:pt modelId="{61196FF0-5024-4B00-A678-8268B62729F3}" type="sibTrans" cxnId="{67C86081-16EF-4263-BADC-E7B23BBA8AE4}">
      <dgm:prSet/>
      <dgm:spPr/>
      <dgm:t>
        <a:bodyPr/>
        <a:lstStyle/>
        <a:p>
          <a:endParaRPr lang="en-US"/>
        </a:p>
      </dgm:t>
    </dgm:pt>
    <dgm:pt modelId="{FBD9EA8B-EDA5-46FD-B55C-75E0F7883630}">
      <dgm:prSet phldrT="[Text]"/>
      <dgm:spPr/>
      <dgm:t>
        <a:bodyPr/>
        <a:lstStyle/>
        <a:p>
          <a:pPr rtl="0"/>
          <a:r>
            <a:rPr lang="it-IT" dirty="0">
              <a:latin typeface="Calibri"/>
            </a:rPr>
            <a:t> </a:t>
          </a:r>
          <a:r>
            <a:rPr lang="it-IT" dirty="0"/>
            <a:t>L'utente sceglie un file tra quelli disponibili</a:t>
          </a:r>
          <a:endParaRPr lang="en-US" dirty="0"/>
        </a:p>
      </dgm:t>
    </dgm:pt>
    <dgm:pt modelId="{1AB2A12B-E48A-41D5-81D1-7C9F65D583AD}" type="parTrans" cxnId="{F3AA6418-68B0-4382-B3A4-0A61163E7E08}">
      <dgm:prSet/>
      <dgm:spPr/>
      <dgm:t>
        <a:bodyPr/>
        <a:lstStyle/>
        <a:p>
          <a:endParaRPr lang="en-US"/>
        </a:p>
      </dgm:t>
    </dgm:pt>
    <dgm:pt modelId="{0EC7FB03-3565-46C5-90CC-B9FE52627E4F}" type="sibTrans" cxnId="{F3AA6418-68B0-4382-B3A4-0A61163E7E08}">
      <dgm:prSet/>
      <dgm:spPr/>
      <dgm:t>
        <a:bodyPr/>
        <a:lstStyle/>
        <a:p>
          <a:endParaRPr lang="en-US"/>
        </a:p>
      </dgm:t>
    </dgm:pt>
    <dgm:pt modelId="{235218D8-7BBE-4135-A9C9-7BE70E2D01CB}">
      <dgm:prSet phldrT="[Text]"/>
      <dgm:spPr/>
      <dgm:t>
        <a:bodyPr/>
        <a:lstStyle/>
        <a:p>
          <a:pPr rtl="0"/>
          <a:r>
            <a:rPr lang="it-IT" dirty="0">
              <a:latin typeface="Calibri"/>
            </a:rPr>
            <a:t> </a:t>
          </a:r>
          <a:r>
            <a:rPr lang="it-IT" dirty="0"/>
            <a:t>L'utente richiede il trasferimento del file</a:t>
          </a:r>
          <a:r>
            <a:rPr lang="it-IT" b="0" i="0" dirty="0"/>
            <a:t> verso </a:t>
          </a:r>
          <a:r>
            <a:rPr lang="it-IT" dirty="0">
              <a:latin typeface="Calibri"/>
            </a:rPr>
            <a:t>AWS</a:t>
          </a:r>
          <a:r>
            <a:rPr lang="it-IT" dirty="0"/>
            <a:t> con </a:t>
          </a:r>
          <a:r>
            <a:rPr lang="it-IT" b="0" i="0" dirty="0"/>
            <a:t>l'API</a:t>
          </a:r>
          <a:r>
            <a:rPr lang="it-IT" b="0" i="0" dirty="0">
              <a:latin typeface="Calibri"/>
            </a:rPr>
            <a:t> </a:t>
          </a:r>
          <a:r>
            <a:rPr lang="it-IT" b="0" i="0" dirty="0"/>
            <a:t> «</a:t>
          </a:r>
          <a:r>
            <a:rPr lang="en-US" b="0" i="0" dirty="0"/>
            <a:t>com.amazonaws.services.s3</a:t>
          </a:r>
          <a:r>
            <a:rPr lang="it-IT" b="0" i="0" dirty="0"/>
            <a:t>» </a:t>
          </a:r>
          <a:endParaRPr lang="it-IT" dirty="0"/>
        </a:p>
      </dgm:t>
    </dgm:pt>
    <dgm:pt modelId="{CAF87809-A11E-4F86-8AA8-737838065950}" type="parTrans" cxnId="{03940394-09C7-4C19-9921-4E8628FDDB62}">
      <dgm:prSet/>
      <dgm:spPr/>
      <dgm:t>
        <a:bodyPr/>
        <a:lstStyle/>
        <a:p>
          <a:endParaRPr lang="en-US"/>
        </a:p>
      </dgm:t>
    </dgm:pt>
    <dgm:pt modelId="{9826AC62-3A83-4285-B8EA-73D21641DF40}" type="sibTrans" cxnId="{03940394-09C7-4C19-9921-4E8628FDDB62}">
      <dgm:prSet/>
      <dgm:spPr/>
      <dgm:t>
        <a:bodyPr/>
        <a:lstStyle/>
        <a:p>
          <a:endParaRPr lang="en-US"/>
        </a:p>
      </dgm:t>
    </dgm:pt>
    <dgm:pt modelId="{4F2AE8F1-2B49-4029-9637-61122CCD7E87}">
      <dgm:prSet phldrT="[Text]"/>
      <dgm:spPr/>
      <dgm:t>
        <a:bodyPr/>
        <a:lstStyle/>
        <a:p>
          <a:r>
            <a:rPr lang="it-IT" dirty="0"/>
            <a:t> A trasferimento avvenuto il file è disponibile sul bucket </a:t>
          </a:r>
          <a:r>
            <a:rPr lang="it-IT" dirty="0">
              <a:latin typeface="Calibri"/>
            </a:rPr>
            <a:t>AWS</a:t>
          </a:r>
          <a:endParaRPr lang="en-US" dirty="0"/>
        </a:p>
      </dgm:t>
    </dgm:pt>
    <dgm:pt modelId="{FBCC2C47-3353-4E58-9029-D358CB80725C}" type="parTrans" cxnId="{C9879E48-3A31-43D4-979C-1001D329B467}">
      <dgm:prSet/>
      <dgm:spPr/>
      <dgm:t>
        <a:bodyPr/>
        <a:lstStyle/>
        <a:p>
          <a:endParaRPr lang="en-US"/>
        </a:p>
      </dgm:t>
    </dgm:pt>
    <dgm:pt modelId="{8BCCC6FE-FF2B-457B-AF6A-2B7A14981D88}" type="sibTrans" cxnId="{C9879E48-3A31-43D4-979C-1001D329B467}">
      <dgm:prSet/>
      <dgm:spPr/>
      <dgm:t>
        <a:bodyPr/>
        <a:lstStyle/>
        <a:p>
          <a:endParaRPr lang="en-US"/>
        </a:p>
      </dgm:t>
    </dgm:pt>
    <dgm:pt modelId="{5B3A53AA-E520-4351-887F-37FCFC61C90F}" type="pres">
      <dgm:prSet presAssocID="{B9A198D4-B5FD-4F88-A93B-F30AF8D17020}" presName="Name0" presStyleCnt="0">
        <dgm:presLayoutVars>
          <dgm:dir/>
          <dgm:resizeHandles val="exact"/>
        </dgm:presLayoutVars>
      </dgm:prSet>
      <dgm:spPr/>
    </dgm:pt>
    <dgm:pt modelId="{DECD5388-54DE-4944-BAF8-3D0FBDC2E6D4}" type="pres">
      <dgm:prSet presAssocID="{CD7C1BD9-7CDA-40B9-A859-E58EFF429C3A}" presName="node" presStyleLbl="node1" presStyleIdx="0" presStyleCnt="4">
        <dgm:presLayoutVars>
          <dgm:bulletEnabled val="1"/>
        </dgm:presLayoutVars>
      </dgm:prSet>
      <dgm:spPr/>
    </dgm:pt>
    <dgm:pt modelId="{5A3B0583-C81F-400A-B8A3-5C93BA46C4A7}" type="pres">
      <dgm:prSet presAssocID="{61196FF0-5024-4B00-A678-8268B62729F3}" presName="sibTrans" presStyleLbl="sibTrans2D1" presStyleIdx="0" presStyleCnt="3"/>
      <dgm:spPr/>
    </dgm:pt>
    <dgm:pt modelId="{694B8F39-0FDD-4C4D-B860-27157795CC6F}" type="pres">
      <dgm:prSet presAssocID="{61196FF0-5024-4B00-A678-8268B62729F3}" presName="connectorText" presStyleLbl="sibTrans2D1" presStyleIdx="0" presStyleCnt="3"/>
      <dgm:spPr/>
    </dgm:pt>
    <dgm:pt modelId="{8B17E261-8EFC-4F90-96A6-D844DD47BC25}" type="pres">
      <dgm:prSet presAssocID="{FBD9EA8B-EDA5-46FD-B55C-75E0F7883630}" presName="node" presStyleLbl="node1" presStyleIdx="1" presStyleCnt="4" custLinFactNeighborY="0">
        <dgm:presLayoutVars>
          <dgm:bulletEnabled val="1"/>
        </dgm:presLayoutVars>
      </dgm:prSet>
      <dgm:spPr/>
    </dgm:pt>
    <dgm:pt modelId="{1F17EA50-77AB-4DC3-A195-85A2E211EBE5}" type="pres">
      <dgm:prSet presAssocID="{0EC7FB03-3565-46C5-90CC-B9FE52627E4F}" presName="sibTrans" presStyleLbl="sibTrans2D1" presStyleIdx="1" presStyleCnt="3"/>
      <dgm:spPr/>
    </dgm:pt>
    <dgm:pt modelId="{11A347EF-5352-4722-B048-C90D03761350}" type="pres">
      <dgm:prSet presAssocID="{0EC7FB03-3565-46C5-90CC-B9FE52627E4F}" presName="connectorText" presStyleLbl="sibTrans2D1" presStyleIdx="1" presStyleCnt="3"/>
      <dgm:spPr/>
    </dgm:pt>
    <dgm:pt modelId="{F99B1671-035B-4780-BC3C-FCA6808504A9}" type="pres">
      <dgm:prSet presAssocID="{235218D8-7BBE-4135-A9C9-7BE70E2D01CB}" presName="node" presStyleLbl="node1" presStyleIdx="2" presStyleCnt="4">
        <dgm:presLayoutVars>
          <dgm:bulletEnabled val="1"/>
        </dgm:presLayoutVars>
      </dgm:prSet>
      <dgm:spPr/>
    </dgm:pt>
    <dgm:pt modelId="{47F1C230-C45D-4F5B-B14E-1630EC7B647B}" type="pres">
      <dgm:prSet presAssocID="{9826AC62-3A83-4285-B8EA-73D21641DF40}" presName="sibTrans" presStyleLbl="sibTrans2D1" presStyleIdx="2" presStyleCnt="3"/>
      <dgm:spPr/>
    </dgm:pt>
    <dgm:pt modelId="{6A8D427D-54D2-430A-96AF-A1B33205CD84}" type="pres">
      <dgm:prSet presAssocID="{9826AC62-3A83-4285-B8EA-73D21641DF40}" presName="connectorText" presStyleLbl="sibTrans2D1" presStyleIdx="2" presStyleCnt="3"/>
      <dgm:spPr/>
    </dgm:pt>
    <dgm:pt modelId="{76CE1381-38EF-4CA9-BE74-D95A666D843E}" type="pres">
      <dgm:prSet presAssocID="{4F2AE8F1-2B49-4029-9637-61122CCD7E87}" presName="node" presStyleLbl="node1" presStyleIdx="3" presStyleCnt="4" custLinFactNeighborX="572" custLinFactNeighborY="5180">
        <dgm:presLayoutVars>
          <dgm:bulletEnabled val="1"/>
        </dgm:presLayoutVars>
      </dgm:prSet>
      <dgm:spPr/>
    </dgm:pt>
  </dgm:ptLst>
  <dgm:cxnLst>
    <dgm:cxn modelId="{F3AA6418-68B0-4382-B3A4-0A61163E7E08}" srcId="{B9A198D4-B5FD-4F88-A93B-F30AF8D17020}" destId="{FBD9EA8B-EDA5-46FD-B55C-75E0F7883630}" srcOrd="1" destOrd="0" parTransId="{1AB2A12B-E48A-41D5-81D1-7C9F65D583AD}" sibTransId="{0EC7FB03-3565-46C5-90CC-B9FE52627E4F}"/>
    <dgm:cxn modelId="{4045CC2D-4C61-4D4F-B218-306E79C7978D}" type="presOf" srcId="{CD7C1BD9-7CDA-40B9-A859-E58EFF429C3A}" destId="{DECD5388-54DE-4944-BAF8-3D0FBDC2E6D4}" srcOrd="0" destOrd="0" presId="urn:microsoft.com/office/officeart/2005/8/layout/process1"/>
    <dgm:cxn modelId="{ADE3A33A-466D-441D-BBB7-5FE44A6A905A}" type="presOf" srcId="{0EC7FB03-3565-46C5-90CC-B9FE52627E4F}" destId="{1F17EA50-77AB-4DC3-A195-85A2E211EBE5}" srcOrd="0" destOrd="0" presId="urn:microsoft.com/office/officeart/2005/8/layout/process1"/>
    <dgm:cxn modelId="{C9879E48-3A31-43D4-979C-1001D329B467}" srcId="{B9A198D4-B5FD-4F88-A93B-F30AF8D17020}" destId="{4F2AE8F1-2B49-4029-9637-61122CCD7E87}" srcOrd="3" destOrd="0" parTransId="{FBCC2C47-3353-4E58-9029-D358CB80725C}" sibTransId="{8BCCC6FE-FF2B-457B-AF6A-2B7A14981D88}"/>
    <dgm:cxn modelId="{EBBF9D52-3899-4FAE-90A1-B71329A41CBC}" type="presOf" srcId="{61196FF0-5024-4B00-A678-8268B62729F3}" destId="{694B8F39-0FDD-4C4D-B860-27157795CC6F}" srcOrd="1" destOrd="0" presId="urn:microsoft.com/office/officeart/2005/8/layout/process1"/>
    <dgm:cxn modelId="{FA169F5E-9FD9-4011-AF08-FF2FD1A0FC0C}" type="presOf" srcId="{9826AC62-3A83-4285-B8EA-73D21641DF40}" destId="{6A8D427D-54D2-430A-96AF-A1B33205CD84}" srcOrd="1" destOrd="0" presId="urn:microsoft.com/office/officeart/2005/8/layout/process1"/>
    <dgm:cxn modelId="{DA30A363-B90A-48E4-A366-6BF0B578215B}" type="presOf" srcId="{FBD9EA8B-EDA5-46FD-B55C-75E0F7883630}" destId="{8B17E261-8EFC-4F90-96A6-D844DD47BC25}" srcOrd="0" destOrd="0" presId="urn:microsoft.com/office/officeart/2005/8/layout/process1"/>
    <dgm:cxn modelId="{962F8265-48D0-4AC7-A8EF-DFC8E09C555E}" type="presOf" srcId="{0EC7FB03-3565-46C5-90CC-B9FE52627E4F}" destId="{11A347EF-5352-4722-B048-C90D03761350}" srcOrd="1" destOrd="0" presId="urn:microsoft.com/office/officeart/2005/8/layout/process1"/>
    <dgm:cxn modelId="{67C86081-16EF-4263-BADC-E7B23BBA8AE4}" srcId="{B9A198D4-B5FD-4F88-A93B-F30AF8D17020}" destId="{CD7C1BD9-7CDA-40B9-A859-E58EFF429C3A}" srcOrd="0" destOrd="0" parTransId="{297BBC3E-A0C0-4BF5-9714-DA7CF65B4599}" sibTransId="{61196FF0-5024-4B00-A678-8268B62729F3}"/>
    <dgm:cxn modelId="{645F8D83-317A-49C6-ADF7-08A18D6B5E17}" type="presOf" srcId="{4F2AE8F1-2B49-4029-9637-61122CCD7E87}" destId="{76CE1381-38EF-4CA9-BE74-D95A666D843E}" srcOrd="0" destOrd="0" presId="urn:microsoft.com/office/officeart/2005/8/layout/process1"/>
    <dgm:cxn modelId="{03940394-09C7-4C19-9921-4E8628FDDB62}" srcId="{B9A198D4-B5FD-4F88-A93B-F30AF8D17020}" destId="{235218D8-7BBE-4135-A9C9-7BE70E2D01CB}" srcOrd="2" destOrd="0" parTransId="{CAF87809-A11E-4F86-8AA8-737838065950}" sibTransId="{9826AC62-3A83-4285-B8EA-73D21641DF40}"/>
    <dgm:cxn modelId="{E7589C94-4505-46A3-9F0B-90ED34799CDA}" type="presOf" srcId="{61196FF0-5024-4B00-A678-8268B62729F3}" destId="{5A3B0583-C81F-400A-B8A3-5C93BA46C4A7}" srcOrd="0" destOrd="0" presId="urn:microsoft.com/office/officeart/2005/8/layout/process1"/>
    <dgm:cxn modelId="{D2DAE1AD-4712-49D8-B51C-8311069931E7}" type="presOf" srcId="{235218D8-7BBE-4135-A9C9-7BE70E2D01CB}" destId="{F99B1671-035B-4780-BC3C-FCA6808504A9}" srcOrd="0" destOrd="0" presId="urn:microsoft.com/office/officeart/2005/8/layout/process1"/>
    <dgm:cxn modelId="{56BA11BD-D8A6-4A3E-8E96-212BD1B08A9B}" type="presOf" srcId="{9826AC62-3A83-4285-B8EA-73D21641DF40}" destId="{47F1C230-C45D-4F5B-B14E-1630EC7B647B}" srcOrd="0" destOrd="0" presId="urn:microsoft.com/office/officeart/2005/8/layout/process1"/>
    <dgm:cxn modelId="{FB088DF7-C962-43B7-983C-E7DE80370701}" type="presOf" srcId="{B9A198D4-B5FD-4F88-A93B-F30AF8D17020}" destId="{5B3A53AA-E520-4351-887F-37FCFC61C90F}" srcOrd="0" destOrd="0" presId="urn:microsoft.com/office/officeart/2005/8/layout/process1"/>
    <dgm:cxn modelId="{BCD867E2-E81D-4D61-9C89-DD22F9AA323C}" type="presParOf" srcId="{5B3A53AA-E520-4351-887F-37FCFC61C90F}" destId="{DECD5388-54DE-4944-BAF8-3D0FBDC2E6D4}" srcOrd="0" destOrd="0" presId="urn:microsoft.com/office/officeart/2005/8/layout/process1"/>
    <dgm:cxn modelId="{124F0820-0D6C-418B-BAB6-CFB3ACCD6204}" type="presParOf" srcId="{5B3A53AA-E520-4351-887F-37FCFC61C90F}" destId="{5A3B0583-C81F-400A-B8A3-5C93BA46C4A7}" srcOrd="1" destOrd="0" presId="urn:microsoft.com/office/officeart/2005/8/layout/process1"/>
    <dgm:cxn modelId="{5ECBCE46-1C1B-4EC6-B966-3FD2AFE09101}" type="presParOf" srcId="{5A3B0583-C81F-400A-B8A3-5C93BA46C4A7}" destId="{694B8F39-0FDD-4C4D-B860-27157795CC6F}" srcOrd="0" destOrd="0" presId="urn:microsoft.com/office/officeart/2005/8/layout/process1"/>
    <dgm:cxn modelId="{5060417C-2A5E-40E3-8425-ED0EB4CDAE16}" type="presParOf" srcId="{5B3A53AA-E520-4351-887F-37FCFC61C90F}" destId="{8B17E261-8EFC-4F90-96A6-D844DD47BC25}" srcOrd="2" destOrd="0" presId="urn:microsoft.com/office/officeart/2005/8/layout/process1"/>
    <dgm:cxn modelId="{F241746B-B68D-4617-8459-C4C6B281E2A7}" type="presParOf" srcId="{5B3A53AA-E520-4351-887F-37FCFC61C90F}" destId="{1F17EA50-77AB-4DC3-A195-85A2E211EBE5}" srcOrd="3" destOrd="0" presId="urn:microsoft.com/office/officeart/2005/8/layout/process1"/>
    <dgm:cxn modelId="{312C4969-AF29-49E1-94D1-226EEDA1F4C2}" type="presParOf" srcId="{1F17EA50-77AB-4DC3-A195-85A2E211EBE5}" destId="{11A347EF-5352-4722-B048-C90D03761350}" srcOrd="0" destOrd="0" presId="urn:microsoft.com/office/officeart/2005/8/layout/process1"/>
    <dgm:cxn modelId="{D5C21560-428D-426F-A9AE-8A0DC5AC3786}" type="presParOf" srcId="{5B3A53AA-E520-4351-887F-37FCFC61C90F}" destId="{F99B1671-035B-4780-BC3C-FCA6808504A9}" srcOrd="4" destOrd="0" presId="urn:microsoft.com/office/officeart/2005/8/layout/process1"/>
    <dgm:cxn modelId="{E9443ADB-1E85-46C9-B3A8-9521993AFBC6}" type="presParOf" srcId="{5B3A53AA-E520-4351-887F-37FCFC61C90F}" destId="{47F1C230-C45D-4F5B-B14E-1630EC7B647B}" srcOrd="5" destOrd="0" presId="urn:microsoft.com/office/officeart/2005/8/layout/process1"/>
    <dgm:cxn modelId="{26DD171B-87BE-41A6-B27E-1B465CBBBB55}" type="presParOf" srcId="{47F1C230-C45D-4F5B-B14E-1630EC7B647B}" destId="{6A8D427D-54D2-430A-96AF-A1B33205CD84}" srcOrd="0" destOrd="0" presId="urn:microsoft.com/office/officeart/2005/8/layout/process1"/>
    <dgm:cxn modelId="{EA7BCACA-0ACC-4222-B6F1-9D8A8CA2DC47}" type="presParOf" srcId="{5B3A53AA-E520-4351-887F-37FCFC61C90F}" destId="{76CE1381-38EF-4CA9-BE74-D95A666D843E}"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C28B5D-E599-4CA7-B759-015AC7847431}" type="doc">
      <dgm:prSet loTypeId="urn:microsoft.com/office/officeart/2005/8/layout/cycle7" loCatId="cycle" qsTypeId="urn:microsoft.com/office/officeart/2005/8/quickstyle/simple1" qsCatId="simple" csTypeId="urn:microsoft.com/office/officeart/2005/8/colors/accent1_2" csCatId="accent1" phldr="1"/>
      <dgm:spPr/>
      <dgm:t>
        <a:bodyPr/>
        <a:lstStyle/>
        <a:p>
          <a:endParaRPr lang="en-US"/>
        </a:p>
      </dgm:t>
    </dgm:pt>
    <dgm:pt modelId="{57C6D7A7-1C54-4B42-92BC-4D3852CCBE6B}">
      <dgm:prSet phldrT="[Text]"/>
      <dgm:spPr/>
      <dgm:t>
        <a:bodyPr/>
        <a:lstStyle/>
        <a:p>
          <a:r>
            <a:rPr lang="it-IT" dirty="0"/>
            <a:t>APPLICAZIONE API</a:t>
          </a:r>
          <a:endParaRPr lang="en-US" dirty="0"/>
        </a:p>
      </dgm:t>
    </dgm:pt>
    <dgm:pt modelId="{B2E678BE-E371-4FF0-8EF4-A157ED3057F0}" type="parTrans" cxnId="{6A9795FE-65D3-42E5-9A66-8483F87370C2}">
      <dgm:prSet/>
      <dgm:spPr/>
      <dgm:t>
        <a:bodyPr/>
        <a:lstStyle/>
        <a:p>
          <a:endParaRPr lang="en-US"/>
        </a:p>
      </dgm:t>
    </dgm:pt>
    <dgm:pt modelId="{828C97C9-E069-487F-93BE-4605C73CD87C}" type="sibTrans" cxnId="{6A9795FE-65D3-42E5-9A66-8483F87370C2}">
      <dgm:prSet/>
      <dgm:spPr/>
      <dgm:t>
        <a:bodyPr/>
        <a:lstStyle/>
        <a:p>
          <a:endParaRPr lang="en-US"/>
        </a:p>
      </dgm:t>
    </dgm:pt>
    <dgm:pt modelId="{235FC171-BA61-4D33-9707-893BD1607FA4}">
      <dgm:prSet phldrT="[Text]"/>
      <dgm:spPr/>
      <dgm:t>
        <a:bodyPr/>
        <a:lstStyle/>
        <a:p>
          <a:r>
            <a:rPr lang="it-IT" dirty="0"/>
            <a:t>AMAZON S3 API</a:t>
          </a:r>
          <a:endParaRPr lang="en-US" dirty="0"/>
        </a:p>
      </dgm:t>
    </dgm:pt>
    <dgm:pt modelId="{0CF3BECB-8038-41C8-B558-3C7EAACBAF1E}" type="parTrans" cxnId="{D7D0BADB-6327-41F2-A875-C6CC206DEF82}">
      <dgm:prSet/>
      <dgm:spPr/>
      <dgm:t>
        <a:bodyPr/>
        <a:lstStyle/>
        <a:p>
          <a:endParaRPr lang="en-US"/>
        </a:p>
      </dgm:t>
    </dgm:pt>
    <dgm:pt modelId="{0AB35D72-8C51-4B97-881D-4B9069817F09}" type="sibTrans" cxnId="{D7D0BADB-6327-41F2-A875-C6CC206DEF82}">
      <dgm:prSet/>
      <dgm:spPr/>
      <dgm:t>
        <a:bodyPr/>
        <a:lstStyle/>
        <a:p>
          <a:endParaRPr lang="en-US"/>
        </a:p>
      </dgm:t>
    </dgm:pt>
    <dgm:pt modelId="{C9C7398C-2107-4B5D-8722-330DE6F416B7}">
      <dgm:prSet phldrT="[Text]"/>
      <dgm:spPr/>
      <dgm:t>
        <a:bodyPr/>
        <a:lstStyle/>
        <a:p>
          <a:r>
            <a:rPr lang="it-IT" dirty="0"/>
            <a:t>CUBBIT API</a:t>
          </a:r>
          <a:endParaRPr lang="en-US" dirty="0"/>
        </a:p>
      </dgm:t>
    </dgm:pt>
    <dgm:pt modelId="{EF8D0563-E116-4A33-A273-B3AAD1723D03}" type="parTrans" cxnId="{253564D6-00EC-4DEE-B82B-02EFB2FAD81B}">
      <dgm:prSet/>
      <dgm:spPr/>
      <dgm:t>
        <a:bodyPr/>
        <a:lstStyle/>
        <a:p>
          <a:endParaRPr lang="en-US"/>
        </a:p>
      </dgm:t>
    </dgm:pt>
    <dgm:pt modelId="{59084185-C455-4B9F-B094-F940DA77C2FF}" type="sibTrans" cxnId="{253564D6-00EC-4DEE-B82B-02EFB2FAD81B}">
      <dgm:prSet/>
      <dgm:spPr/>
      <dgm:t>
        <a:bodyPr/>
        <a:lstStyle/>
        <a:p>
          <a:endParaRPr lang="en-US"/>
        </a:p>
      </dgm:t>
    </dgm:pt>
    <dgm:pt modelId="{958FFEED-C813-43F2-947B-6ADD7DD45E86}" type="pres">
      <dgm:prSet presAssocID="{01C28B5D-E599-4CA7-B759-015AC7847431}" presName="Name0" presStyleCnt="0">
        <dgm:presLayoutVars>
          <dgm:dir/>
          <dgm:resizeHandles val="exact"/>
        </dgm:presLayoutVars>
      </dgm:prSet>
      <dgm:spPr/>
    </dgm:pt>
    <dgm:pt modelId="{E05C4080-DAEE-462A-AF4B-4854268B0651}" type="pres">
      <dgm:prSet presAssocID="{57C6D7A7-1C54-4B42-92BC-4D3852CCBE6B}" presName="node" presStyleLbl="node1" presStyleIdx="0" presStyleCnt="3">
        <dgm:presLayoutVars>
          <dgm:bulletEnabled val="1"/>
        </dgm:presLayoutVars>
      </dgm:prSet>
      <dgm:spPr/>
    </dgm:pt>
    <dgm:pt modelId="{3FBAA9F0-FE7E-4F23-9399-B49AE7874D31}" type="pres">
      <dgm:prSet presAssocID="{828C97C9-E069-487F-93BE-4605C73CD87C}" presName="sibTrans" presStyleLbl="sibTrans2D1" presStyleIdx="0" presStyleCnt="3"/>
      <dgm:spPr/>
    </dgm:pt>
    <dgm:pt modelId="{6B08C52B-2951-4315-AC7C-D43AAD64C860}" type="pres">
      <dgm:prSet presAssocID="{828C97C9-E069-487F-93BE-4605C73CD87C}" presName="connectorText" presStyleLbl="sibTrans2D1" presStyleIdx="0" presStyleCnt="3"/>
      <dgm:spPr/>
    </dgm:pt>
    <dgm:pt modelId="{A2E2B65E-6DFA-41EB-9A05-A66E22F21A3E}" type="pres">
      <dgm:prSet presAssocID="{235FC171-BA61-4D33-9707-893BD1607FA4}" presName="node" presStyleLbl="node1" presStyleIdx="1" presStyleCnt="3">
        <dgm:presLayoutVars>
          <dgm:bulletEnabled val="1"/>
        </dgm:presLayoutVars>
      </dgm:prSet>
      <dgm:spPr/>
    </dgm:pt>
    <dgm:pt modelId="{F21B6F4C-5EF6-4574-B809-05F35B6A1DBA}" type="pres">
      <dgm:prSet presAssocID="{0AB35D72-8C51-4B97-881D-4B9069817F09}" presName="sibTrans" presStyleLbl="sibTrans2D1" presStyleIdx="1" presStyleCnt="3"/>
      <dgm:spPr/>
    </dgm:pt>
    <dgm:pt modelId="{7E807F76-094D-42AC-9873-EFA0E20AFAD0}" type="pres">
      <dgm:prSet presAssocID="{0AB35D72-8C51-4B97-881D-4B9069817F09}" presName="connectorText" presStyleLbl="sibTrans2D1" presStyleIdx="1" presStyleCnt="3"/>
      <dgm:spPr/>
    </dgm:pt>
    <dgm:pt modelId="{4A4E4BEB-E126-4C53-A026-78732994D9B2}" type="pres">
      <dgm:prSet presAssocID="{C9C7398C-2107-4B5D-8722-330DE6F416B7}" presName="node" presStyleLbl="node1" presStyleIdx="2" presStyleCnt="3">
        <dgm:presLayoutVars>
          <dgm:bulletEnabled val="1"/>
        </dgm:presLayoutVars>
      </dgm:prSet>
      <dgm:spPr/>
    </dgm:pt>
    <dgm:pt modelId="{F943C245-17C0-4A0F-BDB5-7E085545A299}" type="pres">
      <dgm:prSet presAssocID="{59084185-C455-4B9F-B094-F940DA77C2FF}" presName="sibTrans" presStyleLbl="sibTrans2D1" presStyleIdx="2" presStyleCnt="3"/>
      <dgm:spPr/>
    </dgm:pt>
    <dgm:pt modelId="{C44DE17B-EE1B-4E44-AC51-321B5109074B}" type="pres">
      <dgm:prSet presAssocID="{59084185-C455-4B9F-B094-F940DA77C2FF}" presName="connectorText" presStyleLbl="sibTrans2D1" presStyleIdx="2" presStyleCnt="3"/>
      <dgm:spPr/>
    </dgm:pt>
  </dgm:ptLst>
  <dgm:cxnLst>
    <dgm:cxn modelId="{6CCB3F1A-466C-4A49-AC51-B39892583EFE}" type="presOf" srcId="{57C6D7A7-1C54-4B42-92BC-4D3852CCBE6B}" destId="{E05C4080-DAEE-462A-AF4B-4854268B0651}" srcOrd="0" destOrd="0" presId="urn:microsoft.com/office/officeart/2005/8/layout/cycle7"/>
    <dgm:cxn modelId="{BB700326-6C08-4861-B86E-1C5C11C66CF8}" type="presOf" srcId="{C9C7398C-2107-4B5D-8722-330DE6F416B7}" destId="{4A4E4BEB-E126-4C53-A026-78732994D9B2}" srcOrd="0" destOrd="0" presId="urn:microsoft.com/office/officeart/2005/8/layout/cycle7"/>
    <dgm:cxn modelId="{D21E0731-5610-427E-98C9-DBBE1517093F}" type="presOf" srcId="{59084185-C455-4B9F-B094-F940DA77C2FF}" destId="{F943C245-17C0-4A0F-BDB5-7E085545A299}" srcOrd="0" destOrd="0" presId="urn:microsoft.com/office/officeart/2005/8/layout/cycle7"/>
    <dgm:cxn modelId="{DE74FC3D-ABF5-4512-8AEB-601E48B7E41C}" type="presOf" srcId="{235FC171-BA61-4D33-9707-893BD1607FA4}" destId="{A2E2B65E-6DFA-41EB-9A05-A66E22F21A3E}" srcOrd="0" destOrd="0" presId="urn:microsoft.com/office/officeart/2005/8/layout/cycle7"/>
    <dgm:cxn modelId="{9273C04C-D733-48ED-B0C3-A5CEA2C82EDA}" type="presOf" srcId="{0AB35D72-8C51-4B97-881D-4B9069817F09}" destId="{F21B6F4C-5EF6-4574-B809-05F35B6A1DBA}" srcOrd="0" destOrd="0" presId="urn:microsoft.com/office/officeart/2005/8/layout/cycle7"/>
    <dgm:cxn modelId="{BC23B352-08F6-4799-AC21-90CF9A750F93}" type="presOf" srcId="{0AB35D72-8C51-4B97-881D-4B9069817F09}" destId="{7E807F76-094D-42AC-9873-EFA0E20AFAD0}" srcOrd="1" destOrd="0" presId="urn:microsoft.com/office/officeart/2005/8/layout/cycle7"/>
    <dgm:cxn modelId="{4D3798C5-0E30-4DEF-92CD-D9294FCB2BC5}" type="presOf" srcId="{01C28B5D-E599-4CA7-B759-015AC7847431}" destId="{958FFEED-C813-43F2-947B-6ADD7DD45E86}" srcOrd="0" destOrd="0" presId="urn:microsoft.com/office/officeart/2005/8/layout/cycle7"/>
    <dgm:cxn modelId="{253564D6-00EC-4DEE-B82B-02EFB2FAD81B}" srcId="{01C28B5D-E599-4CA7-B759-015AC7847431}" destId="{C9C7398C-2107-4B5D-8722-330DE6F416B7}" srcOrd="2" destOrd="0" parTransId="{EF8D0563-E116-4A33-A273-B3AAD1723D03}" sibTransId="{59084185-C455-4B9F-B094-F940DA77C2FF}"/>
    <dgm:cxn modelId="{D7D0BADB-6327-41F2-A875-C6CC206DEF82}" srcId="{01C28B5D-E599-4CA7-B759-015AC7847431}" destId="{235FC171-BA61-4D33-9707-893BD1607FA4}" srcOrd="1" destOrd="0" parTransId="{0CF3BECB-8038-41C8-B558-3C7EAACBAF1E}" sibTransId="{0AB35D72-8C51-4B97-881D-4B9069817F09}"/>
    <dgm:cxn modelId="{7ECA1DE2-AED0-4500-8137-A2D2C032346F}" type="presOf" srcId="{828C97C9-E069-487F-93BE-4605C73CD87C}" destId="{6B08C52B-2951-4315-AC7C-D43AAD64C860}" srcOrd="1" destOrd="0" presId="urn:microsoft.com/office/officeart/2005/8/layout/cycle7"/>
    <dgm:cxn modelId="{A61FE3EA-1354-4BB0-8960-CCD19E49F1CD}" type="presOf" srcId="{828C97C9-E069-487F-93BE-4605C73CD87C}" destId="{3FBAA9F0-FE7E-4F23-9399-B49AE7874D31}" srcOrd="0" destOrd="0" presId="urn:microsoft.com/office/officeart/2005/8/layout/cycle7"/>
    <dgm:cxn modelId="{81ED93FC-667C-4492-92AA-E5AFF7736713}" type="presOf" srcId="{59084185-C455-4B9F-B094-F940DA77C2FF}" destId="{C44DE17B-EE1B-4E44-AC51-321B5109074B}" srcOrd="1" destOrd="0" presId="urn:microsoft.com/office/officeart/2005/8/layout/cycle7"/>
    <dgm:cxn modelId="{6A9795FE-65D3-42E5-9A66-8483F87370C2}" srcId="{01C28B5D-E599-4CA7-B759-015AC7847431}" destId="{57C6D7A7-1C54-4B42-92BC-4D3852CCBE6B}" srcOrd="0" destOrd="0" parTransId="{B2E678BE-E371-4FF0-8EF4-A157ED3057F0}" sibTransId="{828C97C9-E069-487F-93BE-4605C73CD87C}"/>
    <dgm:cxn modelId="{3A4CD07B-786F-4E1A-923F-35945B515A09}" type="presParOf" srcId="{958FFEED-C813-43F2-947B-6ADD7DD45E86}" destId="{E05C4080-DAEE-462A-AF4B-4854268B0651}" srcOrd="0" destOrd="0" presId="urn:microsoft.com/office/officeart/2005/8/layout/cycle7"/>
    <dgm:cxn modelId="{59677E35-2B0F-4E0B-B085-335BC0B71F9B}" type="presParOf" srcId="{958FFEED-C813-43F2-947B-6ADD7DD45E86}" destId="{3FBAA9F0-FE7E-4F23-9399-B49AE7874D31}" srcOrd="1" destOrd="0" presId="urn:microsoft.com/office/officeart/2005/8/layout/cycle7"/>
    <dgm:cxn modelId="{E600407E-96F7-4DD4-B665-7853A812AFC4}" type="presParOf" srcId="{3FBAA9F0-FE7E-4F23-9399-B49AE7874D31}" destId="{6B08C52B-2951-4315-AC7C-D43AAD64C860}" srcOrd="0" destOrd="0" presId="urn:microsoft.com/office/officeart/2005/8/layout/cycle7"/>
    <dgm:cxn modelId="{090A0E25-1B86-4E70-BFBD-87A21EBD5CAB}" type="presParOf" srcId="{958FFEED-C813-43F2-947B-6ADD7DD45E86}" destId="{A2E2B65E-6DFA-41EB-9A05-A66E22F21A3E}" srcOrd="2" destOrd="0" presId="urn:microsoft.com/office/officeart/2005/8/layout/cycle7"/>
    <dgm:cxn modelId="{C1F2E2BD-262D-4B18-BDA1-2E3A1C8BDB02}" type="presParOf" srcId="{958FFEED-C813-43F2-947B-6ADD7DD45E86}" destId="{F21B6F4C-5EF6-4574-B809-05F35B6A1DBA}" srcOrd="3" destOrd="0" presId="urn:microsoft.com/office/officeart/2005/8/layout/cycle7"/>
    <dgm:cxn modelId="{7A249C2A-5B71-4939-953F-26B4DA694430}" type="presParOf" srcId="{F21B6F4C-5EF6-4574-B809-05F35B6A1DBA}" destId="{7E807F76-094D-42AC-9873-EFA0E20AFAD0}" srcOrd="0" destOrd="0" presId="urn:microsoft.com/office/officeart/2005/8/layout/cycle7"/>
    <dgm:cxn modelId="{ED3630F9-CC43-4EF9-9C29-9BB43ACF7780}" type="presParOf" srcId="{958FFEED-C813-43F2-947B-6ADD7DD45E86}" destId="{4A4E4BEB-E126-4C53-A026-78732994D9B2}" srcOrd="4" destOrd="0" presId="urn:microsoft.com/office/officeart/2005/8/layout/cycle7"/>
    <dgm:cxn modelId="{20AB20A8-0FFA-4A67-A98C-996D891270B4}" type="presParOf" srcId="{958FFEED-C813-43F2-947B-6ADD7DD45E86}" destId="{F943C245-17C0-4A0F-BDB5-7E085545A299}" srcOrd="5" destOrd="0" presId="urn:microsoft.com/office/officeart/2005/8/layout/cycle7"/>
    <dgm:cxn modelId="{CD243E01-81CA-4732-8157-C0873F23A810}" type="presParOf" srcId="{F943C245-17C0-4A0F-BDB5-7E085545A299}" destId="{C44DE17B-EE1B-4E44-AC51-321B5109074B}" srcOrd="0" destOrd="0" presId="urn:microsoft.com/office/officeart/2005/8/layout/cycle7"/>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9A198D4-B5FD-4F88-A93B-F30AF8D17020}" type="doc">
      <dgm:prSet loTypeId="urn:microsoft.com/office/officeart/2005/8/layout/process1" loCatId="process" qsTypeId="urn:microsoft.com/office/officeart/2005/8/quickstyle/simple1" qsCatId="simple" csTypeId="urn:microsoft.com/office/officeart/2005/8/colors/accent1_2" csCatId="accent1" phldr="1"/>
      <dgm:spPr/>
    </dgm:pt>
    <dgm:pt modelId="{4F2AE8F1-2B49-4029-9637-61122CCD7E87}">
      <dgm:prSet phldrT="[Text]" phldr="0"/>
      <dgm:spPr/>
      <dgm:t>
        <a:bodyPr/>
        <a:lstStyle/>
        <a:p>
          <a:r>
            <a:rPr lang="it-IT" dirty="0"/>
            <a:t> A trasferimento avvenuto il file è disponibile sul bucket AWS</a:t>
          </a:r>
        </a:p>
      </dgm:t>
    </dgm:pt>
    <dgm:pt modelId="{FBCC2C47-3353-4E58-9029-D358CB80725C}" type="parTrans" cxnId="{C9879E48-3A31-43D4-979C-1001D329B467}">
      <dgm:prSet/>
      <dgm:spPr/>
      <dgm:t>
        <a:bodyPr/>
        <a:lstStyle/>
        <a:p>
          <a:endParaRPr lang="en-US"/>
        </a:p>
      </dgm:t>
    </dgm:pt>
    <dgm:pt modelId="{8BCCC6FE-FF2B-457B-AF6A-2B7A14981D88}" type="sibTrans" cxnId="{C9879E48-3A31-43D4-979C-1001D329B467}">
      <dgm:prSet/>
      <dgm:spPr/>
      <dgm:t>
        <a:bodyPr/>
        <a:lstStyle/>
        <a:p>
          <a:endParaRPr lang="en-US"/>
        </a:p>
      </dgm:t>
    </dgm:pt>
    <dgm:pt modelId="{5755B998-E454-4326-B24B-D5BBFCDCCC5D}">
      <dgm:prSet phldr="0"/>
      <dgm:spPr/>
      <dgm:t>
        <a:bodyPr/>
        <a:lstStyle/>
        <a:p>
          <a:pPr rtl="0"/>
          <a:r>
            <a:rPr lang="it-IT" dirty="0"/>
            <a:t>Applicazione recupera i file disponibili sul bucket </a:t>
          </a:r>
          <a:r>
            <a:rPr lang="it-IT" dirty="0" err="1"/>
            <a:t>Cubbit</a:t>
          </a:r>
          <a:r>
            <a:rPr lang="it-IT" dirty="0"/>
            <a:t> «</a:t>
          </a:r>
          <a:r>
            <a:rPr lang="en-US" dirty="0"/>
            <a:t>https://s3.cubbit.eu</a:t>
          </a:r>
          <a:r>
            <a:rPr lang="it-IT" dirty="0"/>
            <a:t>» </a:t>
          </a:r>
          <a:endParaRPr lang="en-US" dirty="0"/>
        </a:p>
      </dgm:t>
    </dgm:pt>
    <dgm:pt modelId="{3D9EB92B-7675-445C-9B06-8C8236A58542}" type="parTrans" cxnId="{9FF3EC7E-58EC-4ED4-B40D-BF6063FDD189}">
      <dgm:prSet/>
      <dgm:spPr/>
      <dgm:t>
        <a:bodyPr/>
        <a:lstStyle/>
        <a:p>
          <a:endParaRPr lang="en-US"/>
        </a:p>
      </dgm:t>
    </dgm:pt>
    <dgm:pt modelId="{5C9EA458-5CF3-495D-8CEF-50B8D1B2AC25}" type="sibTrans" cxnId="{9FF3EC7E-58EC-4ED4-B40D-BF6063FDD189}">
      <dgm:prSet/>
      <dgm:spPr/>
      <dgm:t>
        <a:bodyPr/>
        <a:lstStyle/>
        <a:p>
          <a:endParaRPr lang="en-US"/>
        </a:p>
      </dgm:t>
    </dgm:pt>
    <dgm:pt modelId="{89AC4CD3-C029-449C-94E5-BB3548D8678F}">
      <dgm:prSet phldr="0"/>
      <dgm:spPr/>
      <dgm:t>
        <a:bodyPr/>
        <a:lstStyle/>
        <a:p>
          <a:r>
            <a:rPr lang="it-IT" dirty="0"/>
            <a:t> L'utente sceglie un file tra quelli disponibili</a:t>
          </a:r>
          <a:endParaRPr lang="en-US" dirty="0"/>
        </a:p>
      </dgm:t>
    </dgm:pt>
    <dgm:pt modelId="{2BD4D04A-73C3-4FE4-A388-037763246AE4}" type="parTrans" cxnId="{DB05F0EA-3A38-483D-A19B-BFDB2CEFCA9E}">
      <dgm:prSet/>
      <dgm:spPr/>
      <dgm:t>
        <a:bodyPr/>
        <a:lstStyle/>
        <a:p>
          <a:endParaRPr lang="en-US"/>
        </a:p>
      </dgm:t>
    </dgm:pt>
    <dgm:pt modelId="{D431B6BF-A7D5-4F03-9A18-642649CA03B4}" type="sibTrans" cxnId="{DB05F0EA-3A38-483D-A19B-BFDB2CEFCA9E}">
      <dgm:prSet/>
      <dgm:spPr/>
      <dgm:t>
        <a:bodyPr/>
        <a:lstStyle/>
        <a:p>
          <a:endParaRPr lang="en-US"/>
        </a:p>
      </dgm:t>
    </dgm:pt>
    <dgm:pt modelId="{A3B1CB71-04D0-4409-8977-C7A86BFFD357}">
      <dgm:prSet phldr="0"/>
      <dgm:spPr/>
      <dgm:t>
        <a:bodyPr/>
        <a:lstStyle/>
        <a:p>
          <a:r>
            <a:rPr lang="it-IT" dirty="0"/>
            <a:t> L'utente richiede il trasferimento del file verso AWS con l'API  «</a:t>
          </a:r>
          <a:r>
            <a:rPr lang="en-US" dirty="0"/>
            <a:t>com.amazonaws.services.s3</a:t>
          </a:r>
          <a:r>
            <a:rPr lang="it-IT" dirty="0"/>
            <a:t>» </a:t>
          </a:r>
          <a:endParaRPr lang="en-US" dirty="0"/>
        </a:p>
      </dgm:t>
    </dgm:pt>
    <dgm:pt modelId="{A6A225E6-80E9-42E9-B33E-C1FC13162E76}" type="parTrans" cxnId="{DE712184-7336-4024-8C9D-1625D7527628}">
      <dgm:prSet/>
      <dgm:spPr/>
      <dgm:t>
        <a:bodyPr/>
        <a:lstStyle/>
        <a:p>
          <a:endParaRPr lang="en-US"/>
        </a:p>
      </dgm:t>
    </dgm:pt>
    <dgm:pt modelId="{E2628BFA-E13E-40FC-91DB-2D31F8D432A7}" type="sibTrans" cxnId="{DE712184-7336-4024-8C9D-1625D7527628}">
      <dgm:prSet/>
      <dgm:spPr/>
      <dgm:t>
        <a:bodyPr/>
        <a:lstStyle/>
        <a:p>
          <a:endParaRPr lang="en-US"/>
        </a:p>
      </dgm:t>
    </dgm:pt>
    <dgm:pt modelId="{5B3A53AA-E520-4351-887F-37FCFC61C90F}" type="pres">
      <dgm:prSet presAssocID="{B9A198D4-B5FD-4F88-A93B-F30AF8D17020}" presName="Name0" presStyleCnt="0">
        <dgm:presLayoutVars>
          <dgm:dir/>
          <dgm:resizeHandles val="exact"/>
        </dgm:presLayoutVars>
      </dgm:prSet>
      <dgm:spPr/>
    </dgm:pt>
    <dgm:pt modelId="{A50A978E-D2A7-4A19-87DF-C1784FFB4616}" type="pres">
      <dgm:prSet presAssocID="{5755B998-E454-4326-B24B-D5BBFCDCCC5D}" presName="node" presStyleLbl="node1" presStyleIdx="0" presStyleCnt="4">
        <dgm:presLayoutVars>
          <dgm:bulletEnabled val="1"/>
        </dgm:presLayoutVars>
      </dgm:prSet>
      <dgm:spPr/>
    </dgm:pt>
    <dgm:pt modelId="{695BF264-5F40-4ADA-8921-8A018EFBDAB1}" type="pres">
      <dgm:prSet presAssocID="{5C9EA458-5CF3-495D-8CEF-50B8D1B2AC25}" presName="sibTrans" presStyleLbl="sibTrans2D1" presStyleIdx="0" presStyleCnt="3"/>
      <dgm:spPr/>
    </dgm:pt>
    <dgm:pt modelId="{F6119A40-55FB-48F2-9FB3-FC0FC7A7BD1B}" type="pres">
      <dgm:prSet presAssocID="{5C9EA458-5CF3-495D-8CEF-50B8D1B2AC25}" presName="connectorText" presStyleLbl="sibTrans2D1" presStyleIdx="0" presStyleCnt="3"/>
      <dgm:spPr/>
    </dgm:pt>
    <dgm:pt modelId="{73339B6A-D979-467B-B8A9-84F5F7CEC43F}" type="pres">
      <dgm:prSet presAssocID="{89AC4CD3-C029-449C-94E5-BB3548D8678F}" presName="node" presStyleLbl="node1" presStyleIdx="1" presStyleCnt="4">
        <dgm:presLayoutVars>
          <dgm:bulletEnabled val="1"/>
        </dgm:presLayoutVars>
      </dgm:prSet>
      <dgm:spPr/>
    </dgm:pt>
    <dgm:pt modelId="{570040F0-C10B-4A1C-9401-77A3889BC6FD}" type="pres">
      <dgm:prSet presAssocID="{D431B6BF-A7D5-4F03-9A18-642649CA03B4}" presName="sibTrans" presStyleLbl="sibTrans2D1" presStyleIdx="1" presStyleCnt="3"/>
      <dgm:spPr/>
    </dgm:pt>
    <dgm:pt modelId="{CE88157E-2737-4264-A257-66E310F0C3C3}" type="pres">
      <dgm:prSet presAssocID="{D431B6BF-A7D5-4F03-9A18-642649CA03B4}" presName="connectorText" presStyleLbl="sibTrans2D1" presStyleIdx="1" presStyleCnt="3"/>
      <dgm:spPr/>
    </dgm:pt>
    <dgm:pt modelId="{0B73A350-6B27-4F87-A46F-479D0B267DF1}" type="pres">
      <dgm:prSet presAssocID="{A3B1CB71-04D0-4409-8977-C7A86BFFD357}" presName="node" presStyleLbl="node1" presStyleIdx="2" presStyleCnt="4">
        <dgm:presLayoutVars>
          <dgm:bulletEnabled val="1"/>
        </dgm:presLayoutVars>
      </dgm:prSet>
      <dgm:spPr/>
    </dgm:pt>
    <dgm:pt modelId="{7E307CD5-B478-4C8B-B756-59968F396063}" type="pres">
      <dgm:prSet presAssocID="{E2628BFA-E13E-40FC-91DB-2D31F8D432A7}" presName="sibTrans" presStyleLbl="sibTrans2D1" presStyleIdx="2" presStyleCnt="3"/>
      <dgm:spPr/>
    </dgm:pt>
    <dgm:pt modelId="{35F2EC34-11B8-4103-870F-47EB3818B015}" type="pres">
      <dgm:prSet presAssocID="{E2628BFA-E13E-40FC-91DB-2D31F8D432A7}" presName="connectorText" presStyleLbl="sibTrans2D1" presStyleIdx="2" presStyleCnt="3"/>
      <dgm:spPr/>
    </dgm:pt>
    <dgm:pt modelId="{76CE1381-38EF-4CA9-BE74-D95A666D843E}" type="pres">
      <dgm:prSet presAssocID="{4F2AE8F1-2B49-4029-9637-61122CCD7E87}" presName="node" presStyleLbl="node1" presStyleIdx="3" presStyleCnt="4" custLinFactNeighborX="572" custLinFactNeighborY="5180">
        <dgm:presLayoutVars>
          <dgm:bulletEnabled val="1"/>
        </dgm:presLayoutVars>
      </dgm:prSet>
      <dgm:spPr/>
    </dgm:pt>
  </dgm:ptLst>
  <dgm:cxnLst>
    <dgm:cxn modelId="{43B8EB24-76B6-4AEB-A222-743E903B26CF}" type="presOf" srcId="{5755B998-E454-4326-B24B-D5BBFCDCCC5D}" destId="{A50A978E-D2A7-4A19-87DF-C1784FFB4616}" srcOrd="0" destOrd="0" presId="urn:microsoft.com/office/officeart/2005/8/layout/process1"/>
    <dgm:cxn modelId="{2D99573E-8230-443F-8A10-C4115E74A299}" type="presOf" srcId="{A3B1CB71-04D0-4409-8977-C7A86BFFD357}" destId="{0B73A350-6B27-4F87-A46F-479D0B267DF1}" srcOrd="0" destOrd="0" presId="urn:microsoft.com/office/officeart/2005/8/layout/process1"/>
    <dgm:cxn modelId="{C9879E48-3A31-43D4-979C-1001D329B467}" srcId="{B9A198D4-B5FD-4F88-A93B-F30AF8D17020}" destId="{4F2AE8F1-2B49-4029-9637-61122CCD7E87}" srcOrd="3" destOrd="0" parTransId="{FBCC2C47-3353-4E58-9029-D358CB80725C}" sibTransId="{8BCCC6FE-FF2B-457B-AF6A-2B7A14981D88}"/>
    <dgm:cxn modelId="{2EBBFE58-9141-4B62-89E3-8568D196DE30}" type="presOf" srcId="{D431B6BF-A7D5-4F03-9A18-642649CA03B4}" destId="{570040F0-C10B-4A1C-9401-77A3889BC6FD}" srcOrd="0" destOrd="0" presId="urn:microsoft.com/office/officeart/2005/8/layout/process1"/>
    <dgm:cxn modelId="{C299D75A-A7BD-4ED0-B206-0E45EE1BACFF}" type="presOf" srcId="{E2628BFA-E13E-40FC-91DB-2D31F8D432A7}" destId="{7E307CD5-B478-4C8B-B756-59968F396063}" srcOrd="0" destOrd="0" presId="urn:microsoft.com/office/officeart/2005/8/layout/process1"/>
    <dgm:cxn modelId="{C9C70172-EFC5-442A-A71F-0AA1B4D5A390}" type="presOf" srcId="{4F2AE8F1-2B49-4029-9637-61122CCD7E87}" destId="{76CE1381-38EF-4CA9-BE74-D95A666D843E}" srcOrd="0" destOrd="0" presId="urn:microsoft.com/office/officeart/2005/8/layout/process1"/>
    <dgm:cxn modelId="{9FF3EC7E-58EC-4ED4-B40D-BF6063FDD189}" srcId="{B9A198D4-B5FD-4F88-A93B-F30AF8D17020}" destId="{5755B998-E454-4326-B24B-D5BBFCDCCC5D}" srcOrd="0" destOrd="0" parTransId="{3D9EB92B-7675-445C-9B06-8C8236A58542}" sibTransId="{5C9EA458-5CF3-495D-8CEF-50B8D1B2AC25}"/>
    <dgm:cxn modelId="{9F4A1880-2CB1-4715-975A-57847832698D}" type="presOf" srcId="{5C9EA458-5CF3-495D-8CEF-50B8D1B2AC25}" destId="{F6119A40-55FB-48F2-9FB3-FC0FC7A7BD1B}" srcOrd="1" destOrd="0" presId="urn:microsoft.com/office/officeart/2005/8/layout/process1"/>
    <dgm:cxn modelId="{DE712184-7336-4024-8C9D-1625D7527628}" srcId="{B9A198D4-B5FD-4F88-A93B-F30AF8D17020}" destId="{A3B1CB71-04D0-4409-8977-C7A86BFFD357}" srcOrd="2" destOrd="0" parTransId="{A6A225E6-80E9-42E9-B33E-C1FC13162E76}" sibTransId="{E2628BFA-E13E-40FC-91DB-2D31F8D432A7}"/>
    <dgm:cxn modelId="{2D30E4BC-BAFB-4C90-B39B-7D9B321503D1}" type="presOf" srcId="{89AC4CD3-C029-449C-94E5-BB3548D8678F}" destId="{73339B6A-D979-467B-B8A9-84F5F7CEC43F}" srcOrd="0" destOrd="0" presId="urn:microsoft.com/office/officeart/2005/8/layout/process1"/>
    <dgm:cxn modelId="{1E9AA6D6-1221-433C-84F7-523170E90786}" type="presOf" srcId="{D431B6BF-A7D5-4F03-9A18-642649CA03B4}" destId="{CE88157E-2737-4264-A257-66E310F0C3C3}" srcOrd="1" destOrd="0" presId="urn:microsoft.com/office/officeart/2005/8/layout/process1"/>
    <dgm:cxn modelId="{DB05F0EA-3A38-483D-A19B-BFDB2CEFCA9E}" srcId="{B9A198D4-B5FD-4F88-A93B-F30AF8D17020}" destId="{89AC4CD3-C029-449C-94E5-BB3548D8678F}" srcOrd="1" destOrd="0" parTransId="{2BD4D04A-73C3-4FE4-A388-037763246AE4}" sibTransId="{D431B6BF-A7D5-4F03-9A18-642649CA03B4}"/>
    <dgm:cxn modelId="{4C9915EE-7CA8-4915-A33D-67B269AB68BA}" type="presOf" srcId="{5C9EA458-5CF3-495D-8CEF-50B8D1B2AC25}" destId="{695BF264-5F40-4ADA-8921-8A018EFBDAB1}" srcOrd="0" destOrd="0" presId="urn:microsoft.com/office/officeart/2005/8/layout/process1"/>
    <dgm:cxn modelId="{FB088DF7-C962-43B7-983C-E7DE80370701}" type="presOf" srcId="{B9A198D4-B5FD-4F88-A93B-F30AF8D17020}" destId="{5B3A53AA-E520-4351-887F-37FCFC61C90F}" srcOrd="0" destOrd="0" presId="urn:microsoft.com/office/officeart/2005/8/layout/process1"/>
    <dgm:cxn modelId="{066362FB-6720-4873-8CE6-2AF73CEBCE99}" type="presOf" srcId="{E2628BFA-E13E-40FC-91DB-2D31F8D432A7}" destId="{35F2EC34-11B8-4103-870F-47EB3818B015}" srcOrd="1" destOrd="0" presId="urn:microsoft.com/office/officeart/2005/8/layout/process1"/>
    <dgm:cxn modelId="{2AB4BAED-4C3A-4AFA-8893-99935E071E19}" type="presParOf" srcId="{5B3A53AA-E520-4351-887F-37FCFC61C90F}" destId="{A50A978E-D2A7-4A19-87DF-C1784FFB4616}" srcOrd="0" destOrd="0" presId="urn:microsoft.com/office/officeart/2005/8/layout/process1"/>
    <dgm:cxn modelId="{B8825F7B-2FC4-4E46-A278-DC7960485BCA}" type="presParOf" srcId="{5B3A53AA-E520-4351-887F-37FCFC61C90F}" destId="{695BF264-5F40-4ADA-8921-8A018EFBDAB1}" srcOrd="1" destOrd="0" presId="urn:microsoft.com/office/officeart/2005/8/layout/process1"/>
    <dgm:cxn modelId="{4EDB049A-D9BA-4216-B528-F11C75159955}" type="presParOf" srcId="{695BF264-5F40-4ADA-8921-8A018EFBDAB1}" destId="{F6119A40-55FB-48F2-9FB3-FC0FC7A7BD1B}" srcOrd="0" destOrd="0" presId="urn:microsoft.com/office/officeart/2005/8/layout/process1"/>
    <dgm:cxn modelId="{CB12A465-629E-464E-BAD6-43ED5D8E258C}" type="presParOf" srcId="{5B3A53AA-E520-4351-887F-37FCFC61C90F}" destId="{73339B6A-D979-467B-B8A9-84F5F7CEC43F}" srcOrd="2" destOrd="0" presId="urn:microsoft.com/office/officeart/2005/8/layout/process1"/>
    <dgm:cxn modelId="{253CCB17-4A37-4B11-B013-371062D8FBD7}" type="presParOf" srcId="{5B3A53AA-E520-4351-887F-37FCFC61C90F}" destId="{570040F0-C10B-4A1C-9401-77A3889BC6FD}" srcOrd="3" destOrd="0" presId="urn:microsoft.com/office/officeart/2005/8/layout/process1"/>
    <dgm:cxn modelId="{E09F77C7-52F6-4DC9-AB5E-E5418D761E5A}" type="presParOf" srcId="{570040F0-C10B-4A1C-9401-77A3889BC6FD}" destId="{CE88157E-2737-4264-A257-66E310F0C3C3}" srcOrd="0" destOrd="0" presId="urn:microsoft.com/office/officeart/2005/8/layout/process1"/>
    <dgm:cxn modelId="{B77AA962-617A-42C4-9770-68B35BFE4770}" type="presParOf" srcId="{5B3A53AA-E520-4351-887F-37FCFC61C90F}" destId="{0B73A350-6B27-4F87-A46F-479D0B267DF1}" srcOrd="4" destOrd="0" presId="urn:microsoft.com/office/officeart/2005/8/layout/process1"/>
    <dgm:cxn modelId="{9ADEBBBE-E07E-420D-A1BA-65A5C579DD44}" type="presParOf" srcId="{5B3A53AA-E520-4351-887F-37FCFC61C90F}" destId="{7E307CD5-B478-4C8B-B756-59968F396063}" srcOrd="5" destOrd="0" presId="urn:microsoft.com/office/officeart/2005/8/layout/process1"/>
    <dgm:cxn modelId="{9F316020-D592-4FA5-B0A8-EDEA34A5D8C7}" type="presParOf" srcId="{7E307CD5-B478-4C8B-B756-59968F396063}" destId="{35F2EC34-11B8-4103-870F-47EB3818B015}" srcOrd="0" destOrd="0" presId="urn:microsoft.com/office/officeart/2005/8/layout/process1"/>
    <dgm:cxn modelId="{595F2F41-2CF4-4190-85BE-F2473D2E49AD}" type="presParOf" srcId="{5B3A53AA-E520-4351-887F-37FCFC61C90F}" destId="{76CE1381-38EF-4CA9-BE74-D95A666D843E}" srcOrd="6" destOrd="0" presId="urn:microsoft.com/office/officeart/2005/8/layout/process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9A198D4-B5FD-4F88-A93B-F30AF8D17020}" type="doc">
      <dgm:prSet loTypeId="urn:microsoft.com/office/officeart/2005/8/layout/process1" loCatId="process" qsTypeId="urn:microsoft.com/office/officeart/2005/8/quickstyle/simple1" qsCatId="simple" csTypeId="urn:microsoft.com/office/officeart/2005/8/colors/accent1_2" csCatId="accent1" phldr="1"/>
      <dgm:spPr/>
    </dgm:pt>
    <dgm:pt modelId="{CD7C1BD9-7CDA-40B9-A859-E58EFF429C3A}">
      <dgm:prSet phldrT="[Text]"/>
      <dgm:spPr/>
      <dgm:t>
        <a:bodyPr/>
        <a:lstStyle/>
        <a:p>
          <a:pPr rtl="0"/>
          <a:r>
            <a:rPr lang="it-IT" dirty="0"/>
            <a:t>Applicazione recupera</a:t>
          </a:r>
          <a:r>
            <a:rPr lang="it-IT" b="0" i="0" dirty="0"/>
            <a:t> i file </a:t>
          </a:r>
          <a:r>
            <a:rPr lang="it-IT" dirty="0"/>
            <a:t>disponibili sul bucket S3 tramite API AWS «</a:t>
          </a:r>
          <a:r>
            <a:rPr lang="en-US" b="0" i="0" dirty="0"/>
            <a:t>com.amazonaws.services.s3</a:t>
          </a:r>
          <a:r>
            <a:rPr lang="it-IT" dirty="0"/>
            <a:t>»  </a:t>
          </a:r>
          <a:endParaRPr lang="en-US" dirty="0"/>
        </a:p>
      </dgm:t>
    </dgm:pt>
    <dgm:pt modelId="{297BBC3E-A0C0-4BF5-9714-DA7CF65B4599}" type="parTrans" cxnId="{67C86081-16EF-4263-BADC-E7B23BBA8AE4}">
      <dgm:prSet/>
      <dgm:spPr/>
      <dgm:t>
        <a:bodyPr/>
        <a:lstStyle/>
        <a:p>
          <a:endParaRPr lang="en-US"/>
        </a:p>
      </dgm:t>
    </dgm:pt>
    <dgm:pt modelId="{61196FF0-5024-4B00-A678-8268B62729F3}" type="sibTrans" cxnId="{67C86081-16EF-4263-BADC-E7B23BBA8AE4}">
      <dgm:prSet/>
      <dgm:spPr/>
      <dgm:t>
        <a:bodyPr/>
        <a:lstStyle/>
        <a:p>
          <a:endParaRPr lang="en-US"/>
        </a:p>
      </dgm:t>
    </dgm:pt>
    <dgm:pt modelId="{FBD9EA8B-EDA5-46FD-B55C-75E0F7883630}">
      <dgm:prSet phldrT="[Text]"/>
      <dgm:spPr/>
      <dgm:t>
        <a:bodyPr/>
        <a:lstStyle/>
        <a:p>
          <a:r>
            <a:rPr lang="it-IT" dirty="0"/>
            <a:t>L'utente sceglie un file tra quelli disponibili</a:t>
          </a:r>
          <a:endParaRPr lang="en-US" dirty="0"/>
        </a:p>
      </dgm:t>
    </dgm:pt>
    <dgm:pt modelId="{1AB2A12B-E48A-41D5-81D1-7C9F65D583AD}" type="parTrans" cxnId="{F3AA6418-68B0-4382-B3A4-0A61163E7E08}">
      <dgm:prSet/>
      <dgm:spPr/>
      <dgm:t>
        <a:bodyPr/>
        <a:lstStyle/>
        <a:p>
          <a:endParaRPr lang="en-US"/>
        </a:p>
      </dgm:t>
    </dgm:pt>
    <dgm:pt modelId="{0EC7FB03-3565-46C5-90CC-B9FE52627E4F}" type="sibTrans" cxnId="{F3AA6418-68B0-4382-B3A4-0A61163E7E08}">
      <dgm:prSet/>
      <dgm:spPr/>
      <dgm:t>
        <a:bodyPr/>
        <a:lstStyle/>
        <a:p>
          <a:endParaRPr lang="en-US"/>
        </a:p>
      </dgm:t>
    </dgm:pt>
    <dgm:pt modelId="{235218D8-7BBE-4135-A9C9-7BE70E2D01CB}">
      <dgm:prSet phldrT="[Text]"/>
      <dgm:spPr/>
      <dgm:t>
        <a:bodyPr/>
        <a:lstStyle/>
        <a:p>
          <a:r>
            <a:rPr lang="it-IT" dirty="0"/>
            <a:t>L'utente richiede il trasferimento del </a:t>
          </a:r>
          <a:r>
            <a:rPr lang="it-IT" b="0" i="0" dirty="0"/>
            <a:t>file verso </a:t>
          </a:r>
          <a:r>
            <a:rPr lang="it-IT" dirty="0"/>
            <a:t>CUBBIT con l'API «</a:t>
          </a:r>
          <a:r>
            <a:rPr lang="en-US" b="0" i="0" dirty="0"/>
            <a:t>https://s3.cubbit.eu</a:t>
          </a:r>
          <a:r>
            <a:rPr lang="it-IT" dirty="0"/>
            <a:t>»</a:t>
          </a:r>
          <a:endParaRPr lang="en-US" dirty="0"/>
        </a:p>
      </dgm:t>
    </dgm:pt>
    <dgm:pt modelId="{CAF87809-A11E-4F86-8AA8-737838065950}" type="parTrans" cxnId="{03940394-09C7-4C19-9921-4E8628FDDB62}">
      <dgm:prSet/>
      <dgm:spPr/>
      <dgm:t>
        <a:bodyPr/>
        <a:lstStyle/>
        <a:p>
          <a:endParaRPr lang="en-US"/>
        </a:p>
      </dgm:t>
    </dgm:pt>
    <dgm:pt modelId="{9826AC62-3A83-4285-B8EA-73D21641DF40}" type="sibTrans" cxnId="{03940394-09C7-4C19-9921-4E8628FDDB62}">
      <dgm:prSet/>
      <dgm:spPr/>
      <dgm:t>
        <a:bodyPr/>
        <a:lstStyle/>
        <a:p>
          <a:endParaRPr lang="en-US"/>
        </a:p>
      </dgm:t>
    </dgm:pt>
    <dgm:pt modelId="{4F2AE8F1-2B49-4029-9637-61122CCD7E87}">
      <dgm:prSet phldrT="[Text]"/>
      <dgm:spPr/>
      <dgm:t>
        <a:bodyPr/>
        <a:lstStyle/>
        <a:p>
          <a:r>
            <a:rPr lang="it-IT" dirty="0"/>
            <a:t> A trasferimento avvenuto il file è disponibile sul bucket CUBBIT</a:t>
          </a:r>
          <a:endParaRPr lang="en-US" dirty="0"/>
        </a:p>
      </dgm:t>
    </dgm:pt>
    <dgm:pt modelId="{FBCC2C47-3353-4E58-9029-D358CB80725C}" type="parTrans" cxnId="{C9879E48-3A31-43D4-979C-1001D329B467}">
      <dgm:prSet/>
      <dgm:spPr/>
      <dgm:t>
        <a:bodyPr/>
        <a:lstStyle/>
        <a:p>
          <a:endParaRPr lang="en-US"/>
        </a:p>
      </dgm:t>
    </dgm:pt>
    <dgm:pt modelId="{8BCCC6FE-FF2B-457B-AF6A-2B7A14981D88}" type="sibTrans" cxnId="{C9879E48-3A31-43D4-979C-1001D329B467}">
      <dgm:prSet/>
      <dgm:spPr/>
      <dgm:t>
        <a:bodyPr/>
        <a:lstStyle/>
        <a:p>
          <a:endParaRPr lang="en-US"/>
        </a:p>
      </dgm:t>
    </dgm:pt>
    <dgm:pt modelId="{5B3A53AA-E520-4351-887F-37FCFC61C90F}" type="pres">
      <dgm:prSet presAssocID="{B9A198D4-B5FD-4F88-A93B-F30AF8D17020}" presName="Name0" presStyleCnt="0">
        <dgm:presLayoutVars>
          <dgm:dir/>
          <dgm:resizeHandles val="exact"/>
        </dgm:presLayoutVars>
      </dgm:prSet>
      <dgm:spPr/>
    </dgm:pt>
    <dgm:pt modelId="{DECD5388-54DE-4944-BAF8-3D0FBDC2E6D4}" type="pres">
      <dgm:prSet presAssocID="{CD7C1BD9-7CDA-40B9-A859-E58EFF429C3A}" presName="node" presStyleLbl="node1" presStyleIdx="0" presStyleCnt="4">
        <dgm:presLayoutVars>
          <dgm:bulletEnabled val="1"/>
        </dgm:presLayoutVars>
      </dgm:prSet>
      <dgm:spPr/>
    </dgm:pt>
    <dgm:pt modelId="{5A3B0583-C81F-400A-B8A3-5C93BA46C4A7}" type="pres">
      <dgm:prSet presAssocID="{61196FF0-5024-4B00-A678-8268B62729F3}" presName="sibTrans" presStyleLbl="sibTrans2D1" presStyleIdx="0" presStyleCnt="3"/>
      <dgm:spPr/>
    </dgm:pt>
    <dgm:pt modelId="{694B8F39-0FDD-4C4D-B860-27157795CC6F}" type="pres">
      <dgm:prSet presAssocID="{61196FF0-5024-4B00-A678-8268B62729F3}" presName="connectorText" presStyleLbl="sibTrans2D1" presStyleIdx="0" presStyleCnt="3"/>
      <dgm:spPr/>
    </dgm:pt>
    <dgm:pt modelId="{8B17E261-8EFC-4F90-96A6-D844DD47BC25}" type="pres">
      <dgm:prSet presAssocID="{FBD9EA8B-EDA5-46FD-B55C-75E0F7883630}" presName="node" presStyleLbl="node1" presStyleIdx="1" presStyleCnt="4" custLinFactNeighborY="0">
        <dgm:presLayoutVars>
          <dgm:bulletEnabled val="1"/>
        </dgm:presLayoutVars>
      </dgm:prSet>
      <dgm:spPr/>
    </dgm:pt>
    <dgm:pt modelId="{1F17EA50-77AB-4DC3-A195-85A2E211EBE5}" type="pres">
      <dgm:prSet presAssocID="{0EC7FB03-3565-46C5-90CC-B9FE52627E4F}" presName="sibTrans" presStyleLbl="sibTrans2D1" presStyleIdx="1" presStyleCnt="3"/>
      <dgm:spPr/>
    </dgm:pt>
    <dgm:pt modelId="{11A347EF-5352-4722-B048-C90D03761350}" type="pres">
      <dgm:prSet presAssocID="{0EC7FB03-3565-46C5-90CC-B9FE52627E4F}" presName="connectorText" presStyleLbl="sibTrans2D1" presStyleIdx="1" presStyleCnt="3"/>
      <dgm:spPr/>
    </dgm:pt>
    <dgm:pt modelId="{F99B1671-035B-4780-BC3C-FCA6808504A9}" type="pres">
      <dgm:prSet presAssocID="{235218D8-7BBE-4135-A9C9-7BE70E2D01CB}" presName="node" presStyleLbl="node1" presStyleIdx="2" presStyleCnt="4">
        <dgm:presLayoutVars>
          <dgm:bulletEnabled val="1"/>
        </dgm:presLayoutVars>
      </dgm:prSet>
      <dgm:spPr/>
    </dgm:pt>
    <dgm:pt modelId="{47F1C230-C45D-4F5B-B14E-1630EC7B647B}" type="pres">
      <dgm:prSet presAssocID="{9826AC62-3A83-4285-B8EA-73D21641DF40}" presName="sibTrans" presStyleLbl="sibTrans2D1" presStyleIdx="2" presStyleCnt="3"/>
      <dgm:spPr/>
    </dgm:pt>
    <dgm:pt modelId="{6A8D427D-54D2-430A-96AF-A1B33205CD84}" type="pres">
      <dgm:prSet presAssocID="{9826AC62-3A83-4285-B8EA-73D21641DF40}" presName="connectorText" presStyleLbl="sibTrans2D1" presStyleIdx="2" presStyleCnt="3"/>
      <dgm:spPr/>
    </dgm:pt>
    <dgm:pt modelId="{76CE1381-38EF-4CA9-BE74-D95A666D843E}" type="pres">
      <dgm:prSet presAssocID="{4F2AE8F1-2B49-4029-9637-61122CCD7E87}" presName="node" presStyleLbl="node1" presStyleIdx="3" presStyleCnt="4" custLinFactNeighborX="572" custLinFactNeighborY="5180">
        <dgm:presLayoutVars>
          <dgm:bulletEnabled val="1"/>
        </dgm:presLayoutVars>
      </dgm:prSet>
      <dgm:spPr/>
    </dgm:pt>
  </dgm:ptLst>
  <dgm:cxnLst>
    <dgm:cxn modelId="{F3AA6418-68B0-4382-B3A4-0A61163E7E08}" srcId="{B9A198D4-B5FD-4F88-A93B-F30AF8D17020}" destId="{FBD9EA8B-EDA5-46FD-B55C-75E0F7883630}" srcOrd="1" destOrd="0" parTransId="{1AB2A12B-E48A-41D5-81D1-7C9F65D583AD}" sibTransId="{0EC7FB03-3565-46C5-90CC-B9FE52627E4F}"/>
    <dgm:cxn modelId="{9F6B3836-C76C-4406-87B2-8C89936419BE}" type="presOf" srcId="{FBD9EA8B-EDA5-46FD-B55C-75E0F7883630}" destId="{8B17E261-8EFC-4F90-96A6-D844DD47BC25}" srcOrd="0" destOrd="0" presId="urn:microsoft.com/office/officeart/2005/8/layout/process1"/>
    <dgm:cxn modelId="{0BC1B637-9235-435C-AB44-1BD87E147E5E}" type="presOf" srcId="{235218D8-7BBE-4135-A9C9-7BE70E2D01CB}" destId="{F99B1671-035B-4780-BC3C-FCA6808504A9}" srcOrd="0" destOrd="0" presId="urn:microsoft.com/office/officeart/2005/8/layout/process1"/>
    <dgm:cxn modelId="{36F56B3B-A4BD-4911-8BB2-B2525363A351}" type="presOf" srcId="{9826AC62-3A83-4285-B8EA-73D21641DF40}" destId="{6A8D427D-54D2-430A-96AF-A1B33205CD84}" srcOrd="1" destOrd="0" presId="urn:microsoft.com/office/officeart/2005/8/layout/process1"/>
    <dgm:cxn modelId="{021F0F44-CFF9-426A-8BFF-D32FEC08F932}" type="presOf" srcId="{61196FF0-5024-4B00-A678-8268B62729F3}" destId="{694B8F39-0FDD-4C4D-B860-27157795CC6F}" srcOrd="1" destOrd="0" presId="urn:microsoft.com/office/officeart/2005/8/layout/process1"/>
    <dgm:cxn modelId="{1AF5F645-9F39-430C-8C44-5F6FBB24D950}" type="presOf" srcId="{9826AC62-3A83-4285-B8EA-73D21641DF40}" destId="{47F1C230-C45D-4F5B-B14E-1630EC7B647B}" srcOrd="0" destOrd="0" presId="urn:microsoft.com/office/officeart/2005/8/layout/process1"/>
    <dgm:cxn modelId="{C9879E48-3A31-43D4-979C-1001D329B467}" srcId="{B9A198D4-B5FD-4F88-A93B-F30AF8D17020}" destId="{4F2AE8F1-2B49-4029-9637-61122CCD7E87}" srcOrd="3" destOrd="0" parTransId="{FBCC2C47-3353-4E58-9029-D358CB80725C}" sibTransId="{8BCCC6FE-FF2B-457B-AF6A-2B7A14981D88}"/>
    <dgm:cxn modelId="{80A87F4D-FB9B-4835-BC89-C2A82862FD36}" type="presOf" srcId="{4F2AE8F1-2B49-4029-9637-61122CCD7E87}" destId="{76CE1381-38EF-4CA9-BE74-D95A666D843E}" srcOrd="0" destOrd="0" presId="urn:microsoft.com/office/officeart/2005/8/layout/process1"/>
    <dgm:cxn modelId="{67C86081-16EF-4263-BADC-E7B23BBA8AE4}" srcId="{B9A198D4-B5FD-4F88-A93B-F30AF8D17020}" destId="{CD7C1BD9-7CDA-40B9-A859-E58EFF429C3A}" srcOrd="0" destOrd="0" parTransId="{297BBC3E-A0C0-4BF5-9714-DA7CF65B4599}" sibTransId="{61196FF0-5024-4B00-A678-8268B62729F3}"/>
    <dgm:cxn modelId="{03940394-09C7-4C19-9921-4E8628FDDB62}" srcId="{B9A198D4-B5FD-4F88-A93B-F30AF8D17020}" destId="{235218D8-7BBE-4135-A9C9-7BE70E2D01CB}" srcOrd="2" destOrd="0" parTransId="{CAF87809-A11E-4F86-8AA8-737838065950}" sibTransId="{9826AC62-3A83-4285-B8EA-73D21641DF40}"/>
    <dgm:cxn modelId="{852114C9-F96F-4333-9366-3320EF75F29F}" type="presOf" srcId="{61196FF0-5024-4B00-A678-8268B62729F3}" destId="{5A3B0583-C81F-400A-B8A3-5C93BA46C4A7}" srcOrd="0" destOrd="0" presId="urn:microsoft.com/office/officeart/2005/8/layout/process1"/>
    <dgm:cxn modelId="{6ABB14D0-A0E4-447F-8A0A-2B6EFAF856A2}" type="presOf" srcId="{0EC7FB03-3565-46C5-90CC-B9FE52627E4F}" destId="{11A347EF-5352-4722-B048-C90D03761350}" srcOrd="1" destOrd="0" presId="urn:microsoft.com/office/officeart/2005/8/layout/process1"/>
    <dgm:cxn modelId="{6F6CC5DA-3DE1-46C1-8620-4AEF42767D48}" type="presOf" srcId="{0EC7FB03-3565-46C5-90CC-B9FE52627E4F}" destId="{1F17EA50-77AB-4DC3-A195-85A2E211EBE5}" srcOrd="0" destOrd="0" presId="urn:microsoft.com/office/officeart/2005/8/layout/process1"/>
    <dgm:cxn modelId="{CE868CE1-BF35-457C-A777-37E18D33CB21}" type="presOf" srcId="{CD7C1BD9-7CDA-40B9-A859-E58EFF429C3A}" destId="{DECD5388-54DE-4944-BAF8-3D0FBDC2E6D4}" srcOrd="0" destOrd="0" presId="urn:microsoft.com/office/officeart/2005/8/layout/process1"/>
    <dgm:cxn modelId="{FB088DF7-C962-43B7-983C-E7DE80370701}" type="presOf" srcId="{B9A198D4-B5FD-4F88-A93B-F30AF8D17020}" destId="{5B3A53AA-E520-4351-887F-37FCFC61C90F}" srcOrd="0" destOrd="0" presId="urn:microsoft.com/office/officeart/2005/8/layout/process1"/>
    <dgm:cxn modelId="{EF3B8347-8F2D-4580-89F6-12A0C1ED385D}" type="presParOf" srcId="{5B3A53AA-E520-4351-887F-37FCFC61C90F}" destId="{DECD5388-54DE-4944-BAF8-3D0FBDC2E6D4}" srcOrd="0" destOrd="0" presId="urn:microsoft.com/office/officeart/2005/8/layout/process1"/>
    <dgm:cxn modelId="{7C12E820-11D8-499B-8A82-57DD88F1F0DD}" type="presParOf" srcId="{5B3A53AA-E520-4351-887F-37FCFC61C90F}" destId="{5A3B0583-C81F-400A-B8A3-5C93BA46C4A7}" srcOrd="1" destOrd="0" presId="urn:microsoft.com/office/officeart/2005/8/layout/process1"/>
    <dgm:cxn modelId="{4478EA21-1066-420C-996B-15F6BFD29646}" type="presParOf" srcId="{5A3B0583-C81F-400A-B8A3-5C93BA46C4A7}" destId="{694B8F39-0FDD-4C4D-B860-27157795CC6F}" srcOrd="0" destOrd="0" presId="urn:microsoft.com/office/officeart/2005/8/layout/process1"/>
    <dgm:cxn modelId="{14CB0DBE-26EA-4AFA-933D-981246D69CE3}" type="presParOf" srcId="{5B3A53AA-E520-4351-887F-37FCFC61C90F}" destId="{8B17E261-8EFC-4F90-96A6-D844DD47BC25}" srcOrd="2" destOrd="0" presId="urn:microsoft.com/office/officeart/2005/8/layout/process1"/>
    <dgm:cxn modelId="{918ED7AB-84B2-4E69-8910-F5C265A1D92B}" type="presParOf" srcId="{5B3A53AA-E520-4351-887F-37FCFC61C90F}" destId="{1F17EA50-77AB-4DC3-A195-85A2E211EBE5}" srcOrd="3" destOrd="0" presId="urn:microsoft.com/office/officeart/2005/8/layout/process1"/>
    <dgm:cxn modelId="{9EF99103-6C26-4D2C-AA06-BE0EC201B759}" type="presParOf" srcId="{1F17EA50-77AB-4DC3-A195-85A2E211EBE5}" destId="{11A347EF-5352-4722-B048-C90D03761350}" srcOrd="0" destOrd="0" presId="urn:microsoft.com/office/officeart/2005/8/layout/process1"/>
    <dgm:cxn modelId="{20C1AD0D-94D0-4029-A33C-6739019FC80F}" type="presParOf" srcId="{5B3A53AA-E520-4351-887F-37FCFC61C90F}" destId="{F99B1671-035B-4780-BC3C-FCA6808504A9}" srcOrd="4" destOrd="0" presId="urn:microsoft.com/office/officeart/2005/8/layout/process1"/>
    <dgm:cxn modelId="{D98D7804-569A-45C4-A38C-BB2AEF2AD745}" type="presParOf" srcId="{5B3A53AA-E520-4351-887F-37FCFC61C90F}" destId="{47F1C230-C45D-4F5B-B14E-1630EC7B647B}" srcOrd="5" destOrd="0" presId="urn:microsoft.com/office/officeart/2005/8/layout/process1"/>
    <dgm:cxn modelId="{D8A6AA76-1236-40B1-A6D0-54C191573DCE}" type="presParOf" srcId="{47F1C230-C45D-4F5B-B14E-1630EC7B647B}" destId="{6A8D427D-54D2-430A-96AF-A1B33205CD84}" srcOrd="0" destOrd="0" presId="urn:microsoft.com/office/officeart/2005/8/layout/process1"/>
    <dgm:cxn modelId="{ABD9B09E-0A2B-46C7-8D7A-25A39E826A25}" type="presParOf" srcId="{5B3A53AA-E520-4351-887F-37FCFC61C90F}" destId="{76CE1381-38EF-4CA9-BE74-D95A666D843E}"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CD5388-54DE-4944-BAF8-3D0FBDC2E6D4}">
      <dsp:nvSpPr>
        <dsp:cNvPr id="0" name=""/>
        <dsp:cNvSpPr/>
      </dsp:nvSpPr>
      <dsp:spPr>
        <a:xfrm>
          <a:off x="4837" y="1544579"/>
          <a:ext cx="2115144" cy="12690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it-IT" sz="1200" kern="1200" dirty="0"/>
            <a:t>Applicazione </a:t>
          </a:r>
          <a:r>
            <a:rPr lang="it-IT" sz="1200" kern="1200" dirty="0">
              <a:latin typeface="Calibri"/>
            </a:rPr>
            <a:t>recupera i file disponibili sul bucket </a:t>
          </a:r>
          <a:r>
            <a:rPr lang="it-IT" sz="1200" kern="1200" dirty="0"/>
            <a:t>S3 </a:t>
          </a:r>
          <a:r>
            <a:rPr lang="it-IT" sz="1200" kern="1200" dirty="0">
              <a:latin typeface="Calibri"/>
            </a:rPr>
            <a:t>tramite API AWS</a:t>
          </a:r>
          <a:r>
            <a:rPr lang="it-IT" sz="1200" kern="1200" dirty="0"/>
            <a:t> «</a:t>
          </a:r>
          <a:r>
            <a:rPr lang="en-US" sz="1200" b="1" i="0" kern="1200" dirty="0"/>
            <a:t>com.amazonaws.services.s3</a:t>
          </a:r>
          <a:r>
            <a:rPr lang="it-IT" sz="1200" kern="1200" dirty="0"/>
            <a:t>»</a:t>
          </a:r>
          <a:r>
            <a:rPr lang="it-IT" sz="1200" kern="1200" dirty="0">
              <a:latin typeface="Calibri"/>
            </a:rPr>
            <a:t>  </a:t>
          </a:r>
          <a:endParaRPr lang="en-US" sz="1200" kern="1200" dirty="0"/>
        </a:p>
      </dsp:txBody>
      <dsp:txXfrm>
        <a:off x="42007" y="1581749"/>
        <a:ext cx="2040804" cy="1194746"/>
      </dsp:txXfrm>
    </dsp:sp>
    <dsp:sp modelId="{5A3B0583-C81F-400A-B8A3-5C93BA46C4A7}">
      <dsp:nvSpPr>
        <dsp:cNvPr id="0" name=""/>
        <dsp:cNvSpPr/>
      </dsp:nvSpPr>
      <dsp:spPr>
        <a:xfrm>
          <a:off x="2331496" y="1916844"/>
          <a:ext cx="448410" cy="52455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2331496" y="2021755"/>
        <a:ext cx="313887" cy="314733"/>
      </dsp:txXfrm>
    </dsp:sp>
    <dsp:sp modelId="{8B17E261-8EFC-4F90-96A6-D844DD47BC25}">
      <dsp:nvSpPr>
        <dsp:cNvPr id="0" name=""/>
        <dsp:cNvSpPr/>
      </dsp:nvSpPr>
      <dsp:spPr>
        <a:xfrm>
          <a:off x="2966039" y="1544579"/>
          <a:ext cx="2115144" cy="12690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it-IT" sz="1200" kern="1200" dirty="0">
              <a:latin typeface="Calibri"/>
            </a:rPr>
            <a:t>L'utente sceglie un</a:t>
          </a:r>
          <a:r>
            <a:rPr lang="it-IT" sz="1200" kern="1200" dirty="0"/>
            <a:t> </a:t>
          </a:r>
          <a:r>
            <a:rPr lang="it-IT" sz="1200" kern="1200" dirty="0">
              <a:latin typeface="Calibri"/>
            </a:rPr>
            <a:t>file tra quelli disponibili</a:t>
          </a:r>
          <a:endParaRPr lang="en-US" sz="1200" kern="1200" dirty="0"/>
        </a:p>
      </dsp:txBody>
      <dsp:txXfrm>
        <a:off x="3003209" y="1581749"/>
        <a:ext cx="2040804" cy="1194746"/>
      </dsp:txXfrm>
    </dsp:sp>
    <dsp:sp modelId="{1F17EA50-77AB-4DC3-A195-85A2E211EBE5}">
      <dsp:nvSpPr>
        <dsp:cNvPr id="0" name=""/>
        <dsp:cNvSpPr/>
      </dsp:nvSpPr>
      <dsp:spPr>
        <a:xfrm>
          <a:off x="5292698" y="1916844"/>
          <a:ext cx="448410" cy="52455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292698" y="2021755"/>
        <a:ext cx="313887" cy="314733"/>
      </dsp:txXfrm>
    </dsp:sp>
    <dsp:sp modelId="{F99B1671-035B-4780-BC3C-FCA6808504A9}">
      <dsp:nvSpPr>
        <dsp:cNvPr id="0" name=""/>
        <dsp:cNvSpPr/>
      </dsp:nvSpPr>
      <dsp:spPr>
        <a:xfrm>
          <a:off x="5927241" y="1544579"/>
          <a:ext cx="2115144" cy="12690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it-IT" sz="1200" kern="1200" dirty="0">
              <a:latin typeface="Calibri"/>
            </a:rPr>
            <a:t>L'utente richiede il trasferimento del file verso </a:t>
          </a:r>
          <a:r>
            <a:rPr lang="it-IT" sz="1200" kern="1200" dirty="0"/>
            <a:t>CUBBIT con </a:t>
          </a:r>
          <a:r>
            <a:rPr lang="it-IT" sz="1200" kern="1200" dirty="0">
              <a:latin typeface="Calibri"/>
            </a:rPr>
            <a:t>l'API</a:t>
          </a:r>
          <a:r>
            <a:rPr lang="it-IT" sz="1200" kern="1200" dirty="0"/>
            <a:t> «</a:t>
          </a:r>
          <a:r>
            <a:rPr lang="en-US" sz="1200" b="0" i="0" kern="1200" dirty="0"/>
            <a:t>https://s3.cubbit.eu</a:t>
          </a:r>
          <a:r>
            <a:rPr lang="it-IT" sz="1200" kern="1200" dirty="0"/>
            <a:t>»</a:t>
          </a:r>
          <a:endParaRPr lang="en-US" sz="1200" kern="1200" dirty="0">
            <a:latin typeface="Calibri"/>
          </a:endParaRPr>
        </a:p>
      </dsp:txBody>
      <dsp:txXfrm>
        <a:off x="5964411" y="1581749"/>
        <a:ext cx="2040804" cy="1194746"/>
      </dsp:txXfrm>
    </dsp:sp>
    <dsp:sp modelId="{FAB20AE8-A97A-48BC-B73E-D2BE09CBDCCC}">
      <dsp:nvSpPr>
        <dsp:cNvPr id="0" name=""/>
        <dsp:cNvSpPr/>
      </dsp:nvSpPr>
      <dsp:spPr>
        <a:xfrm>
          <a:off x="8253900" y="1916844"/>
          <a:ext cx="448410" cy="52455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8253900" y="2021755"/>
        <a:ext cx="313887" cy="314733"/>
      </dsp:txXfrm>
    </dsp:sp>
    <dsp:sp modelId="{A6B3CFB8-25A1-4EC4-A0CF-2C13BB6AAF77}">
      <dsp:nvSpPr>
        <dsp:cNvPr id="0" name=""/>
        <dsp:cNvSpPr/>
      </dsp:nvSpPr>
      <dsp:spPr>
        <a:xfrm>
          <a:off x="8888443" y="1544579"/>
          <a:ext cx="2115144" cy="12690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it-IT" sz="1200" kern="1200" dirty="0">
              <a:latin typeface="Calibri"/>
            </a:rPr>
            <a:t> A trasferimento avvenuto il file</a:t>
          </a:r>
          <a:r>
            <a:rPr lang="it-IT" sz="1200" kern="1200" dirty="0"/>
            <a:t> </a:t>
          </a:r>
          <a:r>
            <a:rPr lang="it-IT" sz="1200" kern="1200" dirty="0">
              <a:latin typeface="Calibri"/>
            </a:rPr>
            <a:t>è disponibile sul bucket </a:t>
          </a:r>
          <a:r>
            <a:rPr lang="it-IT" sz="1200" kern="1200" dirty="0"/>
            <a:t>CUBBIT</a:t>
          </a:r>
          <a:endParaRPr lang="en-US" sz="1200" kern="1200" dirty="0"/>
        </a:p>
      </dsp:txBody>
      <dsp:txXfrm>
        <a:off x="8925613" y="1581749"/>
        <a:ext cx="2040804" cy="119474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C4080-DAEE-462A-AF4B-4854268B0651}">
      <dsp:nvSpPr>
        <dsp:cNvPr id="0" name=""/>
        <dsp:cNvSpPr/>
      </dsp:nvSpPr>
      <dsp:spPr>
        <a:xfrm>
          <a:off x="899786" y="155314"/>
          <a:ext cx="1088770" cy="54438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it-IT" sz="1200" kern="1200" dirty="0"/>
            <a:t>APPLICAZIONE API</a:t>
          </a:r>
          <a:endParaRPr lang="en-US" sz="1200" kern="1200" dirty="0"/>
        </a:p>
      </dsp:txBody>
      <dsp:txXfrm>
        <a:off x="915730" y="171258"/>
        <a:ext cx="1056882" cy="512497"/>
      </dsp:txXfrm>
    </dsp:sp>
    <dsp:sp modelId="{3FBAA9F0-FE7E-4F23-9399-B49AE7874D31}">
      <dsp:nvSpPr>
        <dsp:cNvPr id="0" name=""/>
        <dsp:cNvSpPr/>
      </dsp:nvSpPr>
      <dsp:spPr>
        <a:xfrm rot="3600000">
          <a:off x="1609829" y="1111232"/>
          <a:ext cx="568188" cy="190534"/>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1666989" y="1149339"/>
        <a:ext cx="453868" cy="114320"/>
      </dsp:txXfrm>
    </dsp:sp>
    <dsp:sp modelId="{A2E2B65E-6DFA-41EB-9A05-A66E22F21A3E}">
      <dsp:nvSpPr>
        <dsp:cNvPr id="0" name=""/>
        <dsp:cNvSpPr/>
      </dsp:nvSpPr>
      <dsp:spPr>
        <a:xfrm>
          <a:off x="1799290" y="1713300"/>
          <a:ext cx="1088770" cy="54438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it-IT" sz="1200" kern="1200" dirty="0"/>
            <a:t>CUBBIT API</a:t>
          </a:r>
          <a:endParaRPr lang="en-US" sz="1200" kern="1200" dirty="0"/>
        </a:p>
      </dsp:txBody>
      <dsp:txXfrm>
        <a:off x="1815234" y="1729244"/>
        <a:ext cx="1056882" cy="512497"/>
      </dsp:txXfrm>
    </dsp:sp>
    <dsp:sp modelId="{F21B6F4C-5EF6-4574-B809-05F35B6A1DBA}">
      <dsp:nvSpPr>
        <dsp:cNvPr id="0" name=""/>
        <dsp:cNvSpPr/>
      </dsp:nvSpPr>
      <dsp:spPr>
        <a:xfrm rot="10800000">
          <a:off x="1160077" y="1890225"/>
          <a:ext cx="568188" cy="190534"/>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rot="10800000">
        <a:off x="1217237" y="1928332"/>
        <a:ext cx="453868" cy="114320"/>
      </dsp:txXfrm>
    </dsp:sp>
    <dsp:sp modelId="{4A4E4BEB-E126-4C53-A026-78732994D9B2}">
      <dsp:nvSpPr>
        <dsp:cNvPr id="0" name=""/>
        <dsp:cNvSpPr/>
      </dsp:nvSpPr>
      <dsp:spPr>
        <a:xfrm>
          <a:off x="283" y="1713300"/>
          <a:ext cx="1088770" cy="54438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it-IT" sz="1200" kern="1200" dirty="0"/>
            <a:t>AMAZON S3 API</a:t>
          </a:r>
          <a:endParaRPr lang="en-US" sz="1200" kern="1200" dirty="0"/>
        </a:p>
      </dsp:txBody>
      <dsp:txXfrm>
        <a:off x="16227" y="1729244"/>
        <a:ext cx="1056882" cy="512497"/>
      </dsp:txXfrm>
    </dsp:sp>
    <dsp:sp modelId="{F943C245-17C0-4A0F-BDB5-7E085545A299}">
      <dsp:nvSpPr>
        <dsp:cNvPr id="0" name=""/>
        <dsp:cNvSpPr/>
      </dsp:nvSpPr>
      <dsp:spPr>
        <a:xfrm rot="18000000">
          <a:off x="710325" y="1111232"/>
          <a:ext cx="568188" cy="190534"/>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767485" y="1149339"/>
        <a:ext cx="453868" cy="1143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CD5388-54DE-4944-BAF8-3D0FBDC2E6D4}">
      <dsp:nvSpPr>
        <dsp:cNvPr id="0" name=""/>
        <dsp:cNvSpPr/>
      </dsp:nvSpPr>
      <dsp:spPr>
        <a:xfrm>
          <a:off x="4837" y="1544579"/>
          <a:ext cx="2115144" cy="12690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rtl="0">
            <a:lnSpc>
              <a:spcPct val="90000"/>
            </a:lnSpc>
            <a:spcBef>
              <a:spcPct val="0"/>
            </a:spcBef>
            <a:spcAft>
              <a:spcPct val="35000"/>
            </a:spcAft>
            <a:buNone/>
          </a:pPr>
          <a:r>
            <a:rPr lang="it-IT" sz="1100" kern="1200" dirty="0"/>
            <a:t>Applicazione recupera</a:t>
          </a:r>
          <a:r>
            <a:rPr lang="it-IT" sz="1100" b="0" i="0" kern="1200" dirty="0"/>
            <a:t> i file </a:t>
          </a:r>
          <a:r>
            <a:rPr lang="it-IT" sz="1100" kern="1200" dirty="0"/>
            <a:t>disponibili sul bucket S3 tramite API AWS «</a:t>
          </a:r>
          <a:r>
            <a:rPr lang="en-US" sz="1100" b="0" i="0" kern="1200" dirty="0"/>
            <a:t>com.amazonaws.services.s3</a:t>
          </a:r>
          <a:r>
            <a:rPr lang="it-IT" sz="1100" kern="1200" dirty="0"/>
            <a:t>»  </a:t>
          </a:r>
          <a:endParaRPr lang="en-US" sz="1100" kern="1200" dirty="0"/>
        </a:p>
      </dsp:txBody>
      <dsp:txXfrm>
        <a:off x="42007" y="1581749"/>
        <a:ext cx="2040804" cy="1194746"/>
      </dsp:txXfrm>
    </dsp:sp>
    <dsp:sp modelId="{5A3B0583-C81F-400A-B8A3-5C93BA46C4A7}">
      <dsp:nvSpPr>
        <dsp:cNvPr id="0" name=""/>
        <dsp:cNvSpPr/>
      </dsp:nvSpPr>
      <dsp:spPr>
        <a:xfrm>
          <a:off x="2331496" y="1916844"/>
          <a:ext cx="448410" cy="52455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2331496" y="2021755"/>
        <a:ext cx="313887" cy="314733"/>
      </dsp:txXfrm>
    </dsp:sp>
    <dsp:sp modelId="{8B17E261-8EFC-4F90-96A6-D844DD47BC25}">
      <dsp:nvSpPr>
        <dsp:cNvPr id="0" name=""/>
        <dsp:cNvSpPr/>
      </dsp:nvSpPr>
      <dsp:spPr>
        <a:xfrm>
          <a:off x="2966039" y="1544579"/>
          <a:ext cx="2115144" cy="12690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it-IT" sz="1100" kern="1200" dirty="0"/>
            <a:t>L'utente sceglie un file tra quelli disponibili</a:t>
          </a:r>
          <a:endParaRPr lang="en-US" sz="1100" kern="1200" dirty="0"/>
        </a:p>
      </dsp:txBody>
      <dsp:txXfrm>
        <a:off x="3003209" y="1581749"/>
        <a:ext cx="2040804" cy="1194746"/>
      </dsp:txXfrm>
    </dsp:sp>
    <dsp:sp modelId="{1F17EA50-77AB-4DC3-A195-85A2E211EBE5}">
      <dsp:nvSpPr>
        <dsp:cNvPr id="0" name=""/>
        <dsp:cNvSpPr/>
      </dsp:nvSpPr>
      <dsp:spPr>
        <a:xfrm>
          <a:off x="5292698" y="1916844"/>
          <a:ext cx="448410" cy="52455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5292698" y="2021755"/>
        <a:ext cx="313887" cy="314733"/>
      </dsp:txXfrm>
    </dsp:sp>
    <dsp:sp modelId="{F99B1671-035B-4780-BC3C-FCA6808504A9}">
      <dsp:nvSpPr>
        <dsp:cNvPr id="0" name=""/>
        <dsp:cNvSpPr/>
      </dsp:nvSpPr>
      <dsp:spPr>
        <a:xfrm>
          <a:off x="5927241" y="1544579"/>
          <a:ext cx="2115144" cy="12690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it-IT" sz="1100" kern="1200" dirty="0"/>
            <a:t>L'utente richiede il trasferimento del </a:t>
          </a:r>
          <a:r>
            <a:rPr lang="it-IT" sz="1100" b="0" i="0" kern="1200" dirty="0"/>
            <a:t>file verso </a:t>
          </a:r>
          <a:r>
            <a:rPr lang="it-IT" sz="1100" kern="1200" dirty="0"/>
            <a:t>CUBBIT con l'API «</a:t>
          </a:r>
          <a:r>
            <a:rPr lang="en-US" sz="1100" b="0" i="0" kern="1200" dirty="0"/>
            <a:t>https://s3.cubbit.eu</a:t>
          </a:r>
          <a:r>
            <a:rPr lang="it-IT" sz="1100" kern="1200" dirty="0"/>
            <a:t>»</a:t>
          </a:r>
          <a:endParaRPr lang="en-US" sz="1100" kern="1200" dirty="0"/>
        </a:p>
      </dsp:txBody>
      <dsp:txXfrm>
        <a:off x="5964411" y="1581749"/>
        <a:ext cx="2040804" cy="1194746"/>
      </dsp:txXfrm>
    </dsp:sp>
    <dsp:sp modelId="{47F1C230-C45D-4F5B-B14E-1630EC7B647B}">
      <dsp:nvSpPr>
        <dsp:cNvPr id="0" name=""/>
        <dsp:cNvSpPr/>
      </dsp:nvSpPr>
      <dsp:spPr>
        <a:xfrm rot="76181">
          <a:off x="8255054" y="1949996"/>
          <a:ext cx="451085" cy="52455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8255071" y="2053408"/>
        <a:ext cx="315760" cy="314733"/>
      </dsp:txXfrm>
    </dsp:sp>
    <dsp:sp modelId="{76CE1381-38EF-4CA9-BE74-D95A666D843E}">
      <dsp:nvSpPr>
        <dsp:cNvPr id="0" name=""/>
        <dsp:cNvSpPr/>
      </dsp:nvSpPr>
      <dsp:spPr>
        <a:xfrm>
          <a:off x="8893281" y="1610317"/>
          <a:ext cx="2115144" cy="12690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it-IT" sz="1100" kern="1200" dirty="0"/>
            <a:t> A trasferimento avvenuto il file è disponibile sul bucket CUBBIT</a:t>
          </a:r>
          <a:endParaRPr lang="en-US" sz="1100" kern="1200" dirty="0"/>
        </a:p>
      </dsp:txBody>
      <dsp:txXfrm>
        <a:off x="8930451" y="1647487"/>
        <a:ext cx="2040804" cy="119474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CD5388-54DE-4944-BAF8-3D0FBDC2E6D4}">
      <dsp:nvSpPr>
        <dsp:cNvPr id="0" name=""/>
        <dsp:cNvSpPr/>
      </dsp:nvSpPr>
      <dsp:spPr>
        <a:xfrm>
          <a:off x="4837" y="1544579"/>
          <a:ext cx="2115144" cy="12690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rtl="0">
            <a:lnSpc>
              <a:spcPct val="90000"/>
            </a:lnSpc>
            <a:spcBef>
              <a:spcPct val="0"/>
            </a:spcBef>
            <a:spcAft>
              <a:spcPct val="35000"/>
            </a:spcAft>
            <a:buNone/>
          </a:pPr>
          <a:r>
            <a:rPr lang="it-IT" sz="1000" kern="1200" dirty="0"/>
            <a:t>Applicazione recupera i </a:t>
          </a:r>
          <a:r>
            <a:rPr lang="it-IT" sz="1000" b="0" i="0" kern="1200" dirty="0"/>
            <a:t>file disponibili sul </a:t>
          </a:r>
          <a:r>
            <a:rPr lang="it-IT" sz="1000" kern="1200" dirty="0"/>
            <a:t>bucket</a:t>
          </a:r>
          <a:r>
            <a:rPr lang="it-IT" sz="1000" kern="1200" dirty="0">
              <a:latin typeface="Calibri"/>
            </a:rPr>
            <a:t> Cubbit </a:t>
          </a:r>
          <a:r>
            <a:rPr lang="it-IT" sz="1000" kern="1200" dirty="0"/>
            <a:t>«</a:t>
          </a:r>
          <a:r>
            <a:rPr lang="en-US" sz="1000" kern="1200" dirty="0"/>
            <a:t>https://s3.cubbit.eu</a:t>
          </a:r>
          <a:r>
            <a:rPr lang="it-IT" sz="1000" kern="1200" dirty="0"/>
            <a:t>»</a:t>
          </a:r>
          <a:r>
            <a:rPr lang="it-IT" sz="1000" kern="1200" dirty="0">
              <a:latin typeface="Calibri"/>
            </a:rPr>
            <a:t> </a:t>
          </a:r>
          <a:endParaRPr lang="en-US" sz="1000" kern="1200" dirty="0">
            <a:latin typeface="Calibri"/>
          </a:endParaRPr>
        </a:p>
      </dsp:txBody>
      <dsp:txXfrm>
        <a:off x="42007" y="1581749"/>
        <a:ext cx="2040804" cy="1194746"/>
      </dsp:txXfrm>
    </dsp:sp>
    <dsp:sp modelId="{5A3B0583-C81F-400A-B8A3-5C93BA46C4A7}">
      <dsp:nvSpPr>
        <dsp:cNvPr id="0" name=""/>
        <dsp:cNvSpPr/>
      </dsp:nvSpPr>
      <dsp:spPr>
        <a:xfrm>
          <a:off x="2331496" y="1916844"/>
          <a:ext cx="448410" cy="52455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2331496" y="2021755"/>
        <a:ext cx="313887" cy="314733"/>
      </dsp:txXfrm>
    </dsp:sp>
    <dsp:sp modelId="{8B17E261-8EFC-4F90-96A6-D844DD47BC25}">
      <dsp:nvSpPr>
        <dsp:cNvPr id="0" name=""/>
        <dsp:cNvSpPr/>
      </dsp:nvSpPr>
      <dsp:spPr>
        <a:xfrm>
          <a:off x="2966039" y="1544579"/>
          <a:ext cx="2115144" cy="12690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rtl="0">
            <a:lnSpc>
              <a:spcPct val="90000"/>
            </a:lnSpc>
            <a:spcBef>
              <a:spcPct val="0"/>
            </a:spcBef>
            <a:spcAft>
              <a:spcPct val="35000"/>
            </a:spcAft>
            <a:buNone/>
          </a:pPr>
          <a:r>
            <a:rPr lang="it-IT" sz="1000" kern="1200" dirty="0">
              <a:latin typeface="Calibri"/>
            </a:rPr>
            <a:t> </a:t>
          </a:r>
          <a:r>
            <a:rPr lang="it-IT" sz="1000" kern="1200" dirty="0"/>
            <a:t>L'utente sceglie un file tra quelli disponibili</a:t>
          </a:r>
          <a:endParaRPr lang="en-US" sz="1000" kern="1200" dirty="0"/>
        </a:p>
      </dsp:txBody>
      <dsp:txXfrm>
        <a:off x="3003209" y="1581749"/>
        <a:ext cx="2040804" cy="1194746"/>
      </dsp:txXfrm>
    </dsp:sp>
    <dsp:sp modelId="{1F17EA50-77AB-4DC3-A195-85A2E211EBE5}">
      <dsp:nvSpPr>
        <dsp:cNvPr id="0" name=""/>
        <dsp:cNvSpPr/>
      </dsp:nvSpPr>
      <dsp:spPr>
        <a:xfrm>
          <a:off x="5292698" y="1916844"/>
          <a:ext cx="448410" cy="52455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5292698" y="2021755"/>
        <a:ext cx="313887" cy="314733"/>
      </dsp:txXfrm>
    </dsp:sp>
    <dsp:sp modelId="{F99B1671-035B-4780-BC3C-FCA6808504A9}">
      <dsp:nvSpPr>
        <dsp:cNvPr id="0" name=""/>
        <dsp:cNvSpPr/>
      </dsp:nvSpPr>
      <dsp:spPr>
        <a:xfrm>
          <a:off x="5927241" y="1544579"/>
          <a:ext cx="2115144" cy="12690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rtl="0">
            <a:lnSpc>
              <a:spcPct val="90000"/>
            </a:lnSpc>
            <a:spcBef>
              <a:spcPct val="0"/>
            </a:spcBef>
            <a:spcAft>
              <a:spcPct val="35000"/>
            </a:spcAft>
            <a:buNone/>
          </a:pPr>
          <a:r>
            <a:rPr lang="it-IT" sz="1000" kern="1200" dirty="0">
              <a:latin typeface="Calibri"/>
            </a:rPr>
            <a:t> </a:t>
          </a:r>
          <a:r>
            <a:rPr lang="it-IT" sz="1000" kern="1200" dirty="0"/>
            <a:t>L'utente richiede il trasferimento del file</a:t>
          </a:r>
          <a:r>
            <a:rPr lang="it-IT" sz="1000" b="0" i="0" kern="1200" dirty="0"/>
            <a:t> verso </a:t>
          </a:r>
          <a:r>
            <a:rPr lang="it-IT" sz="1000" kern="1200" dirty="0">
              <a:latin typeface="Calibri"/>
            </a:rPr>
            <a:t>AWS</a:t>
          </a:r>
          <a:r>
            <a:rPr lang="it-IT" sz="1000" kern="1200" dirty="0"/>
            <a:t> con </a:t>
          </a:r>
          <a:r>
            <a:rPr lang="it-IT" sz="1000" b="0" i="0" kern="1200" dirty="0"/>
            <a:t>l'API</a:t>
          </a:r>
          <a:r>
            <a:rPr lang="it-IT" sz="1000" b="0" i="0" kern="1200" dirty="0">
              <a:latin typeface="Calibri"/>
            </a:rPr>
            <a:t> </a:t>
          </a:r>
          <a:r>
            <a:rPr lang="it-IT" sz="1000" b="0" i="0" kern="1200" dirty="0"/>
            <a:t> «</a:t>
          </a:r>
          <a:r>
            <a:rPr lang="en-US" sz="1000" b="0" i="0" kern="1200" dirty="0"/>
            <a:t>com.amazonaws.services.s3</a:t>
          </a:r>
          <a:r>
            <a:rPr lang="it-IT" sz="1000" b="0" i="0" kern="1200" dirty="0"/>
            <a:t>» </a:t>
          </a:r>
          <a:endParaRPr lang="it-IT" sz="1000" kern="1200" dirty="0"/>
        </a:p>
      </dsp:txBody>
      <dsp:txXfrm>
        <a:off x="5964411" y="1581749"/>
        <a:ext cx="2040804" cy="1194746"/>
      </dsp:txXfrm>
    </dsp:sp>
    <dsp:sp modelId="{47F1C230-C45D-4F5B-B14E-1630EC7B647B}">
      <dsp:nvSpPr>
        <dsp:cNvPr id="0" name=""/>
        <dsp:cNvSpPr/>
      </dsp:nvSpPr>
      <dsp:spPr>
        <a:xfrm rot="76181">
          <a:off x="8255054" y="1949996"/>
          <a:ext cx="451085" cy="52455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8255071" y="2053408"/>
        <a:ext cx="315760" cy="314733"/>
      </dsp:txXfrm>
    </dsp:sp>
    <dsp:sp modelId="{76CE1381-38EF-4CA9-BE74-D95A666D843E}">
      <dsp:nvSpPr>
        <dsp:cNvPr id="0" name=""/>
        <dsp:cNvSpPr/>
      </dsp:nvSpPr>
      <dsp:spPr>
        <a:xfrm>
          <a:off x="8893281" y="1610317"/>
          <a:ext cx="2115144" cy="12690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it-IT" sz="1000" kern="1200" dirty="0"/>
            <a:t> A trasferimento avvenuto il file è disponibile sul bucket </a:t>
          </a:r>
          <a:r>
            <a:rPr lang="it-IT" sz="1000" kern="1200" dirty="0">
              <a:latin typeface="Calibri"/>
            </a:rPr>
            <a:t>AWS</a:t>
          </a:r>
          <a:endParaRPr lang="en-US" sz="1000" kern="1200" dirty="0"/>
        </a:p>
      </dsp:txBody>
      <dsp:txXfrm>
        <a:off x="8930451" y="1647487"/>
        <a:ext cx="2040804" cy="119474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C4080-DAEE-462A-AF4B-4854268B0651}">
      <dsp:nvSpPr>
        <dsp:cNvPr id="0" name=""/>
        <dsp:cNvSpPr/>
      </dsp:nvSpPr>
      <dsp:spPr>
        <a:xfrm>
          <a:off x="899786" y="155314"/>
          <a:ext cx="1088770" cy="54438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it-IT" sz="1200" kern="1200" dirty="0"/>
            <a:t>APPLICAZIONE API</a:t>
          </a:r>
          <a:endParaRPr lang="en-US" sz="1200" kern="1200" dirty="0"/>
        </a:p>
      </dsp:txBody>
      <dsp:txXfrm>
        <a:off x="915730" y="171258"/>
        <a:ext cx="1056882" cy="512497"/>
      </dsp:txXfrm>
    </dsp:sp>
    <dsp:sp modelId="{3FBAA9F0-FE7E-4F23-9399-B49AE7874D31}">
      <dsp:nvSpPr>
        <dsp:cNvPr id="0" name=""/>
        <dsp:cNvSpPr/>
      </dsp:nvSpPr>
      <dsp:spPr>
        <a:xfrm rot="3600000">
          <a:off x="1609829" y="1111232"/>
          <a:ext cx="568188" cy="190534"/>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1666989" y="1149339"/>
        <a:ext cx="453868" cy="114320"/>
      </dsp:txXfrm>
    </dsp:sp>
    <dsp:sp modelId="{A2E2B65E-6DFA-41EB-9A05-A66E22F21A3E}">
      <dsp:nvSpPr>
        <dsp:cNvPr id="0" name=""/>
        <dsp:cNvSpPr/>
      </dsp:nvSpPr>
      <dsp:spPr>
        <a:xfrm>
          <a:off x="1799290" y="1713300"/>
          <a:ext cx="1088770" cy="54438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it-IT" sz="1200" kern="1200" dirty="0"/>
            <a:t>AMAZON S3 API</a:t>
          </a:r>
          <a:endParaRPr lang="en-US" sz="1200" kern="1200" dirty="0"/>
        </a:p>
      </dsp:txBody>
      <dsp:txXfrm>
        <a:off x="1815234" y="1729244"/>
        <a:ext cx="1056882" cy="512497"/>
      </dsp:txXfrm>
    </dsp:sp>
    <dsp:sp modelId="{F21B6F4C-5EF6-4574-B809-05F35B6A1DBA}">
      <dsp:nvSpPr>
        <dsp:cNvPr id="0" name=""/>
        <dsp:cNvSpPr/>
      </dsp:nvSpPr>
      <dsp:spPr>
        <a:xfrm rot="10800000">
          <a:off x="1160077" y="1890225"/>
          <a:ext cx="568188" cy="190534"/>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rot="10800000">
        <a:off x="1217237" y="1928332"/>
        <a:ext cx="453868" cy="114320"/>
      </dsp:txXfrm>
    </dsp:sp>
    <dsp:sp modelId="{4A4E4BEB-E126-4C53-A026-78732994D9B2}">
      <dsp:nvSpPr>
        <dsp:cNvPr id="0" name=""/>
        <dsp:cNvSpPr/>
      </dsp:nvSpPr>
      <dsp:spPr>
        <a:xfrm>
          <a:off x="283" y="1713300"/>
          <a:ext cx="1088770" cy="54438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it-IT" sz="1200" kern="1200" dirty="0"/>
            <a:t>CUBBIT API</a:t>
          </a:r>
          <a:endParaRPr lang="en-US" sz="1200" kern="1200" dirty="0"/>
        </a:p>
      </dsp:txBody>
      <dsp:txXfrm>
        <a:off x="16227" y="1729244"/>
        <a:ext cx="1056882" cy="512497"/>
      </dsp:txXfrm>
    </dsp:sp>
    <dsp:sp modelId="{F943C245-17C0-4A0F-BDB5-7E085545A299}">
      <dsp:nvSpPr>
        <dsp:cNvPr id="0" name=""/>
        <dsp:cNvSpPr/>
      </dsp:nvSpPr>
      <dsp:spPr>
        <a:xfrm rot="18000000">
          <a:off x="710325" y="1111232"/>
          <a:ext cx="568188" cy="190534"/>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767485" y="1149339"/>
        <a:ext cx="453868" cy="11432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0A978E-D2A7-4A19-87DF-C1784FFB4616}">
      <dsp:nvSpPr>
        <dsp:cNvPr id="0" name=""/>
        <dsp:cNvSpPr/>
      </dsp:nvSpPr>
      <dsp:spPr>
        <a:xfrm>
          <a:off x="4993" y="1524101"/>
          <a:ext cx="2183404" cy="131004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rtl="0">
            <a:lnSpc>
              <a:spcPct val="90000"/>
            </a:lnSpc>
            <a:spcBef>
              <a:spcPct val="0"/>
            </a:spcBef>
            <a:spcAft>
              <a:spcPct val="35000"/>
            </a:spcAft>
            <a:buNone/>
          </a:pPr>
          <a:r>
            <a:rPr lang="it-IT" sz="1000" kern="1200" dirty="0"/>
            <a:t>Applicazione recupera i file disponibili sul bucket </a:t>
          </a:r>
          <a:r>
            <a:rPr lang="it-IT" sz="1000" kern="1200" dirty="0" err="1"/>
            <a:t>Cubbit</a:t>
          </a:r>
          <a:r>
            <a:rPr lang="it-IT" sz="1000" kern="1200" dirty="0"/>
            <a:t> «</a:t>
          </a:r>
          <a:r>
            <a:rPr lang="en-US" sz="1000" kern="1200" dirty="0"/>
            <a:t>https://s3.cubbit.eu</a:t>
          </a:r>
          <a:r>
            <a:rPr lang="it-IT" sz="1000" kern="1200" dirty="0"/>
            <a:t>» </a:t>
          </a:r>
          <a:endParaRPr lang="en-US" sz="1000" kern="1200" dirty="0"/>
        </a:p>
      </dsp:txBody>
      <dsp:txXfrm>
        <a:off x="43363" y="1562471"/>
        <a:ext cx="2106664" cy="1233302"/>
      </dsp:txXfrm>
    </dsp:sp>
    <dsp:sp modelId="{695BF264-5F40-4ADA-8921-8A018EFBDAB1}">
      <dsp:nvSpPr>
        <dsp:cNvPr id="0" name=""/>
        <dsp:cNvSpPr/>
      </dsp:nvSpPr>
      <dsp:spPr>
        <a:xfrm>
          <a:off x="2406738" y="1908380"/>
          <a:ext cx="462881" cy="541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2406738" y="2016677"/>
        <a:ext cx="324017" cy="324890"/>
      </dsp:txXfrm>
    </dsp:sp>
    <dsp:sp modelId="{73339B6A-D979-467B-B8A9-84F5F7CEC43F}">
      <dsp:nvSpPr>
        <dsp:cNvPr id="0" name=""/>
        <dsp:cNvSpPr/>
      </dsp:nvSpPr>
      <dsp:spPr>
        <a:xfrm>
          <a:off x="3061760" y="1524101"/>
          <a:ext cx="2183404" cy="131004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it-IT" sz="1000" kern="1200" dirty="0"/>
            <a:t> L'utente sceglie un file tra quelli disponibili</a:t>
          </a:r>
          <a:endParaRPr lang="en-US" sz="1000" kern="1200" dirty="0"/>
        </a:p>
      </dsp:txBody>
      <dsp:txXfrm>
        <a:off x="3100130" y="1562471"/>
        <a:ext cx="2106664" cy="1233302"/>
      </dsp:txXfrm>
    </dsp:sp>
    <dsp:sp modelId="{570040F0-C10B-4A1C-9401-77A3889BC6FD}">
      <dsp:nvSpPr>
        <dsp:cNvPr id="0" name=""/>
        <dsp:cNvSpPr/>
      </dsp:nvSpPr>
      <dsp:spPr>
        <a:xfrm>
          <a:off x="5463505" y="1908380"/>
          <a:ext cx="462881" cy="541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5463505" y="2016677"/>
        <a:ext cx="324017" cy="324890"/>
      </dsp:txXfrm>
    </dsp:sp>
    <dsp:sp modelId="{0B73A350-6B27-4F87-A46F-479D0B267DF1}">
      <dsp:nvSpPr>
        <dsp:cNvPr id="0" name=""/>
        <dsp:cNvSpPr/>
      </dsp:nvSpPr>
      <dsp:spPr>
        <a:xfrm>
          <a:off x="6118526" y="1524101"/>
          <a:ext cx="2183404" cy="131004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it-IT" sz="1000" kern="1200" dirty="0"/>
            <a:t> L'utente richiede il trasferimento del file verso AWS con l'API  «</a:t>
          </a:r>
          <a:r>
            <a:rPr lang="en-US" sz="1000" kern="1200" dirty="0"/>
            <a:t>com.amazonaws.services.s3</a:t>
          </a:r>
          <a:r>
            <a:rPr lang="it-IT" sz="1000" kern="1200" dirty="0"/>
            <a:t>» </a:t>
          </a:r>
          <a:endParaRPr lang="en-US" sz="1000" kern="1200" dirty="0"/>
        </a:p>
      </dsp:txBody>
      <dsp:txXfrm>
        <a:off x="6156896" y="1562471"/>
        <a:ext cx="2106664" cy="1233302"/>
      </dsp:txXfrm>
    </dsp:sp>
    <dsp:sp modelId="{7E307CD5-B478-4C8B-B756-59968F396063}">
      <dsp:nvSpPr>
        <dsp:cNvPr id="0" name=""/>
        <dsp:cNvSpPr/>
      </dsp:nvSpPr>
      <dsp:spPr>
        <a:xfrm rot="76181">
          <a:off x="8521462" y="1942602"/>
          <a:ext cx="465642" cy="541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8521479" y="2049351"/>
        <a:ext cx="325949" cy="324890"/>
      </dsp:txXfrm>
    </dsp:sp>
    <dsp:sp modelId="{76CE1381-38EF-4CA9-BE74-D95A666D843E}">
      <dsp:nvSpPr>
        <dsp:cNvPr id="0" name=""/>
        <dsp:cNvSpPr/>
      </dsp:nvSpPr>
      <dsp:spPr>
        <a:xfrm>
          <a:off x="9180286" y="1591961"/>
          <a:ext cx="2183404" cy="131004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it-IT" sz="1000" kern="1200" dirty="0"/>
            <a:t> A trasferimento avvenuto il file è disponibile sul bucket AWS</a:t>
          </a:r>
        </a:p>
      </dsp:txBody>
      <dsp:txXfrm>
        <a:off x="9218656" y="1630331"/>
        <a:ext cx="2106664" cy="12333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CD5388-54DE-4944-BAF8-3D0FBDC2E6D4}">
      <dsp:nvSpPr>
        <dsp:cNvPr id="0" name=""/>
        <dsp:cNvSpPr/>
      </dsp:nvSpPr>
      <dsp:spPr>
        <a:xfrm>
          <a:off x="4837" y="1544579"/>
          <a:ext cx="2115144" cy="12690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rtl="0">
            <a:lnSpc>
              <a:spcPct val="90000"/>
            </a:lnSpc>
            <a:spcBef>
              <a:spcPct val="0"/>
            </a:spcBef>
            <a:spcAft>
              <a:spcPct val="35000"/>
            </a:spcAft>
            <a:buNone/>
          </a:pPr>
          <a:r>
            <a:rPr lang="it-IT" sz="1100" kern="1200" dirty="0"/>
            <a:t>Applicazione recupera</a:t>
          </a:r>
          <a:r>
            <a:rPr lang="it-IT" sz="1100" b="0" i="0" kern="1200" dirty="0"/>
            <a:t> i file </a:t>
          </a:r>
          <a:r>
            <a:rPr lang="it-IT" sz="1100" kern="1200" dirty="0"/>
            <a:t>disponibili sul bucket S3 tramite API AWS «</a:t>
          </a:r>
          <a:r>
            <a:rPr lang="en-US" sz="1100" b="0" i="0" kern="1200" dirty="0"/>
            <a:t>com.amazonaws.services.s3</a:t>
          </a:r>
          <a:r>
            <a:rPr lang="it-IT" sz="1100" kern="1200" dirty="0"/>
            <a:t>»  </a:t>
          </a:r>
          <a:endParaRPr lang="en-US" sz="1100" kern="1200" dirty="0"/>
        </a:p>
      </dsp:txBody>
      <dsp:txXfrm>
        <a:off x="42007" y="1581749"/>
        <a:ext cx="2040804" cy="1194746"/>
      </dsp:txXfrm>
    </dsp:sp>
    <dsp:sp modelId="{5A3B0583-C81F-400A-B8A3-5C93BA46C4A7}">
      <dsp:nvSpPr>
        <dsp:cNvPr id="0" name=""/>
        <dsp:cNvSpPr/>
      </dsp:nvSpPr>
      <dsp:spPr>
        <a:xfrm>
          <a:off x="2331496" y="1916844"/>
          <a:ext cx="448410" cy="52455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2331496" y="2021755"/>
        <a:ext cx="313887" cy="314733"/>
      </dsp:txXfrm>
    </dsp:sp>
    <dsp:sp modelId="{8B17E261-8EFC-4F90-96A6-D844DD47BC25}">
      <dsp:nvSpPr>
        <dsp:cNvPr id="0" name=""/>
        <dsp:cNvSpPr/>
      </dsp:nvSpPr>
      <dsp:spPr>
        <a:xfrm>
          <a:off x="2966039" y="1544579"/>
          <a:ext cx="2115144" cy="12690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it-IT" sz="1100" kern="1200" dirty="0"/>
            <a:t>L'utente sceglie un file tra quelli disponibili</a:t>
          </a:r>
          <a:endParaRPr lang="en-US" sz="1100" kern="1200" dirty="0"/>
        </a:p>
      </dsp:txBody>
      <dsp:txXfrm>
        <a:off x="3003209" y="1581749"/>
        <a:ext cx="2040804" cy="1194746"/>
      </dsp:txXfrm>
    </dsp:sp>
    <dsp:sp modelId="{1F17EA50-77AB-4DC3-A195-85A2E211EBE5}">
      <dsp:nvSpPr>
        <dsp:cNvPr id="0" name=""/>
        <dsp:cNvSpPr/>
      </dsp:nvSpPr>
      <dsp:spPr>
        <a:xfrm>
          <a:off x="5292698" y="1916844"/>
          <a:ext cx="448410" cy="52455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5292698" y="2021755"/>
        <a:ext cx="313887" cy="314733"/>
      </dsp:txXfrm>
    </dsp:sp>
    <dsp:sp modelId="{F99B1671-035B-4780-BC3C-FCA6808504A9}">
      <dsp:nvSpPr>
        <dsp:cNvPr id="0" name=""/>
        <dsp:cNvSpPr/>
      </dsp:nvSpPr>
      <dsp:spPr>
        <a:xfrm>
          <a:off x="5927241" y="1544579"/>
          <a:ext cx="2115144" cy="12690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it-IT" sz="1100" kern="1200" dirty="0"/>
            <a:t>L'utente richiede il trasferimento del </a:t>
          </a:r>
          <a:r>
            <a:rPr lang="it-IT" sz="1100" b="0" i="0" kern="1200" dirty="0"/>
            <a:t>file verso </a:t>
          </a:r>
          <a:r>
            <a:rPr lang="it-IT" sz="1100" kern="1200" dirty="0"/>
            <a:t>CUBBIT con l'API «</a:t>
          </a:r>
          <a:r>
            <a:rPr lang="en-US" sz="1100" b="0" i="0" kern="1200" dirty="0"/>
            <a:t>https://s3.cubbit.eu</a:t>
          </a:r>
          <a:r>
            <a:rPr lang="it-IT" sz="1100" kern="1200" dirty="0"/>
            <a:t>»</a:t>
          </a:r>
          <a:endParaRPr lang="en-US" sz="1100" kern="1200" dirty="0"/>
        </a:p>
      </dsp:txBody>
      <dsp:txXfrm>
        <a:off x="5964411" y="1581749"/>
        <a:ext cx="2040804" cy="1194746"/>
      </dsp:txXfrm>
    </dsp:sp>
    <dsp:sp modelId="{47F1C230-C45D-4F5B-B14E-1630EC7B647B}">
      <dsp:nvSpPr>
        <dsp:cNvPr id="0" name=""/>
        <dsp:cNvSpPr/>
      </dsp:nvSpPr>
      <dsp:spPr>
        <a:xfrm rot="76181">
          <a:off x="8255054" y="1949996"/>
          <a:ext cx="451085" cy="52455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8255071" y="2053408"/>
        <a:ext cx="315760" cy="314733"/>
      </dsp:txXfrm>
    </dsp:sp>
    <dsp:sp modelId="{76CE1381-38EF-4CA9-BE74-D95A666D843E}">
      <dsp:nvSpPr>
        <dsp:cNvPr id="0" name=""/>
        <dsp:cNvSpPr/>
      </dsp:nvSpPr>
      <dsp:spPr>
        <a:xfrm>
          <a:off x="8893281" y="1610317"/>
          <a:ext cx="2115144" cy="12690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it-IT" sz="1100" kern="1200" dirty="0"/>
            <a:t> A trasferimento avvenuto il file è disponibile sul bucket CUBBIT</a:t>
          </a:r>
          <a:endParaRPr lang="en-US" sz="1100" kern="1200" dirty="0"/>
        </a:p>
      </dsp:txBody>
      <dsp:txXfrm>
        <a:off x="8930451" y="1647487"/>
        <a:ext cx="2040804" cy="1194746"/>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11609A-3E13-472C-B284-2811F270CCBE}" type="datetimeFigureOut">
              <a:rPr lang="en-US" smtClean="0"/>
              <a:t>3/31/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3816A4-DC04-4F0D-951D-6D50569D0B7F}" type="slidenum">
              <a:rPr lang="en-US" smtClean="0"/>
              <a:t>‹#›</a:t>
            </a:fld>
            <a:endParaRPr lang="en-US"/>
          </a:p>
        </p:txBody>
      </p:sp>
    </p:spTree>
    <p:extLst>
      <p:ext uri="{BB962C8B-B14F-4D97-AF65-F5344CB8AC3E}">
        <p14:creationId xmlns:p14="http://schemas.microsoft.com/office/powerpoint/2010/main" val="3367754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a:t>
            </a:fld>
            <a:endParaRPr lang="en-US"/>
          </a:p>
        </p:txBody>
      </p:sp>
    </p:spTree>
    <p:extLst>
      <p:ext uri="{BB962C8B-B14F-4D97-AF65-F5344CB8AC3E}">
        <p14:creationId xmlns:p14="http://schemas.microsoft.com/office/powerpoint/2010/main" val="3255756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ext blocks,</a:t>
            </a:r>
            <a:r>
              <a:rPr lang="en-US" baseline="0" dirty="0"/>
              <a:t> </a:t>
            </a:r>
            <a:r>
              <a:rPr lang="en-US" dirty="0"/>
              <a:t>Sources leading to</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a:pPr/>
              <a:t>22</a:t>
            </a:fld>
            <a:endParaRPr lang="en-US" dirty="0"/>
          </a:p>
        </p:txBody>
      </p:sp>
    </p:spTree>
    <p:extLst>
      <p:ext uri="{BB962C8B-B14F-4D97-AF65-F5344CB8AC3E}">
        <p14:creationId xmlns:p14="http://schemas.microsoft.com/office/powerpoint/2010/main" val="40100600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3</a:t>
            </a:fld>
            <a:endParaRPr lang="en-US" dirty="0"/>
          </a:p>
        </p:txBody>
      </p:sp>
    </p:spTree>
    <p:extLst>
      <p:ext uri="{BB962C8B-B14F-4D97-AF65-F5344CB8AC3E}">
        <p14:creationId xmlns:p14="http://schemas.microsoft.com/office/powerpoint/2010/main" val="35191250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1300263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ext blocks,</a:t>
            </a:r>
            <a:r>
              <a:rPr lang="en-US" baseline="0" dirty="0"/>
              <a:t> </a:t>
            </a:r>
            <a:r>
              <a:rPr lang="en-US" dirty="0"/>
              <a:t>Sources leading to</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a:pPr/>
              <a:t>16</a:t>
            </a:fld>
            <a:endParaRPr lang="en-US" dirty="0"/>
          </a:p>
        </p:txBody>
      </p:sp>
    </p:spTree>
    <p:extLst>
      <p:ext uri="{BB962C8B-B14F-4D97-AF65-F5344CB8AC3E}">
        <p14:creationId xmlns:p14="http://schemas.microsoft.com/office/powerpoint/2010/main" val="16205652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ext blocks,</a:t>
            </a:r>
            <a:r>
              <a:rPr lang="en-US" baseline="0" dirty="0"/>
              <a:t> </a:t>
            </a:r>
            <a:r>
              <a:rPr lang="en-US" dirty="0"/>
              <a:t>Sources leading to</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a:pPr/>
              <a:t>17</a:t>
            </a:fld>
            <a:endParaRPr lang="en-US" dirty="0"/>
          </a:p>
        </p:txBody>
      </p:sp>
    </p:spTree>
    <p:extLst>
      <p:ext uri="{BB962C8B-B14F-4D97-AF65-F5344CB8AC3E}">
        <p14:creationId xmlns:p14="http://schemas.microsoft.com/office/powerpoint/2010/main" val="25642827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ext blocks,</a:t>
            </a:r>
            <a:r>
              <a:rPr lang="en-US" baseline="0" dirty="0"/>
              <a:t> </a:t>
            </a:r>
            <a:r>
              <a:rPr lang="en-US" dirty="0"/>
              <a:t>Sources leading to</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a:pPr/>
              <a:t>18</a:t>
            </a:fld>
            <a:endParaRPr lang="en-US" dirty="0"/>
          </a:p>
        </p:txBody>
      </p:sp>
    </p:spTree>
    <p:extLst>
      <p:ext uri="{BB962C8B-B14F-4D97-AF65-F5344CB8AC3E}">
        <p14:creationId xmlns:p14="http://schemas.microsoft.com/office/powerpoint/2010/main" val="1699939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ext blocks,</a:t>
            </a:r>
            <a:r>
              <a:rPr lang="en-US" baseline="0" dirty="0"/>
              <a:t> </a:t>
            </a:r>
            <a:r>
              <a:rPr lang="en-US" dirty="0"/>
              <a:t>Sources leading to</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a:pPr/>
              <a:t>19</a:t>
            </a:fld>
            <a:endParaRPr lang="en-US" dirty="0"/>
          </a:p>
        </p:txBody>
      </p:sp>
    </p:spTree>
    <p:extLst>
      <p:ext uri="{BB962C8B-B14F-4D97-AF65-F5344CB8AC3E}">
        <p14:creationId xmlns:p14="http://schemas.microsoft.com/office/powerpoint/2010/main" val="13079531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ext blocks,</a:t>
            </a:r>
            <a:r>
              <a:rPr lang="en-US" baseline="0" dirty="0"/>
              <a:t> </a:t>
            </a:r>
            <a:r>
              <a:rPr lang="en-US" dirty="0"/>
              <a:t>Sources leading to</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a:pPr/>
              <a:t>20</a:t>
            </a:fld>
            <a:endParaRPr lang="en-US" dirty="0"/>
          </a:p>
        </p:txBody>
      </p:sp>
    </p:spTree>
    <p:extLst>
      <p:ext uri="{BB962C8B-B14F-4D97-AF65-F5344CB8AC3E}">
        <p14:creationId xmlns:p14="http://schemas.microsoft.com/office/powerpoint/2010/main" val="38403169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ext blocks,</a:t>
            </a:r>
            <a:r>
              <a:rPr lang="en-US" baseline="0" dirty="0"/>
              <a:t> </a:t>
            </a:r>
            <a:r>
              <a:rPr lang="en-US" dirty="0"/>
              <a:t>Sources leading to</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a:pPr/>
              <a:t>21</a:t>
            </a:fld>
            <a:endParaRPr lang="en-US" dirty="0"/>
          </a:p>
        </p:txBody>
      </p:sp>
    </p:spTree>
    <p:extLst>
      <p:ext uri="{BB962C8B-B14F-4D97-AF65-F5344CB8AC3E}">
        <p14:creationId xmlns:p14="http://schemas.microsoft.com/office/powerpoint/2010/main" val="31852518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8539235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120603312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4763945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471081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27370270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49947543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09779406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5055777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5220132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10574245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7849106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3234574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49731141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11642567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Tree>
    <p:extLst>
      <p:ext uri="{BB962C8B-B14F-4D97-AF65-F5344CB8AC3E}">
        <p14:creationId xmlns:p14="http://schemas.microsoft.com/office/powerpoint/2010/main" val="19833771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6127846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0754233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978754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47264344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000448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440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805735994"/>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20" name="Group 19">
            <a:extLst>
              <a:ext uri="{FF2B5EF4-FFF2-40B4-BE49-F238E27FC236}">
                <a16:creationId xmlns:a16="http://schemas.microsoft.com/office/drawing/2014/main" id="{DAA751F6-96CD-4D47-9334-26CB35377F81}"/>
              </a:ext>
            </a:extLst>
          </p:cNvPr>
          <p:cNvGrpSpPr/>
          <p:nvPr/>
        </p:nvGrpSpPr>
        <p:grpSpPr>
          <a:xfrm>
            <a:off x="503988" y="378000"/>
            <a:ext cx="2160000" cy="307976"/>
            <a:chOff x="398463" y="404813"/>
            <a:chExt cx="1627187" cy="307976"/>
          </a:xfrm>
          <a:solidFill>
            <a:schemeClr val="tx1"/>
          </a:solidFill>
        </p:grpSpPr>
        <p:sp>
          <p:nvSpPr>
            <p:cNvPr id="21" name="Oval 5">
              <a:extLst>
                <a:ext uri="{FF2B5EF4-FFF2-40B4-BE49-F238E27FC236}">
                  <a16:creationId xmlns:a16="http://schemas.microsoft.com/office/drawing/2014/main" id="{208AFD29-2473-4B74-B317-20817E37D163}"/>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2" name="Freeform 6">
              <a:extLst>
                <a:ext uri="{FF2B5EF4-FFF2-40B4-BE49-F238E27FC236}">
                  <a16:creationId xmlns:a16="http://schemas.microsoft.com/office/drawing/2014/main" id="{34A35AAC-FF34-4B4D-B2F4-E62F3556D17C}"/>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3" name="Rectangle 7">
              <a:extLst>
                <a:ext uri="{FF2B5EF4-FFF2-40B4-BE49-F238E27FC236}">
                  <a16:creationId xmlns:a16="http://schemas.microsoft.com/office/drawing/2014/main" id="{3A260268-5F2D-4ED9-BC62-469BD612FB9E}"/>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4" name="Freeform 8">
              <a:extLst>
                <a:ext uri="{FF2B5EF4-FFF2-40B4-BE49-F238E27FC236}">
                  <a16:creationId xmlns:a16="http://schemas.microsoft.com/office/drawing/2014/main" id="{B89B9D2F-BC9E-4F1B-8627-B2EF4F0C6B1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5" name="Rectangle 9">
              <a:extLst>
                <a:ext uri="{FF2B5EF4-FFF2-40B4-BE49-F238E27FC236}">
                  <a16:creationId xmlns:a16="http://schemas.microsoft.com/office/drawing/2014/main" id="{2B0A675B-0F0F-403D-BC22-B4B8F272898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6" name="Rectangle 10">
              <a:extLst>
                <a:ext uri="{FF2B5EF4-FFF2-40B4-BE49-F238E27FC236}">
                  <a16:creationId xmlns:a16="http://schemas.microsoft.com/office/drawing/2014/main" id="{9471D3B0-20F4-47CE-8982-C04B5F3D910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7" name="Freeform 11">
              <a:extLst>
                <a:ext uri="{FF2B5EF4-FFF2-40B4-BE49-F238E27FC236}">
                  <a16:creationId xmlns:a16="http://schemas.microsoft.com/office/drawing/2014/main" id="{1A3CB533-5498-4F6B-BF48-FF0372CE9F5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8" name="Freeform 12">
              <a:extLst>
                <a:ext uri="{FF2B5EF4-FFF2-40B4-BE49-F238E27FC236}">
                  <a16:creationId xmlns:a16="http://schemas.microsoft.com/office/drawing/2014/main" id="{3C454093-5492-4277-8415-5B9CB1FF980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9" name="Freeform 13">
              <a:extLst>
                <a:ext uri="{FF2B5EF4-FFF2-40B4-BE49-F238E27FC236}">
                  <a16:creationId xmlns:a16="http://schemas.microsoft.com/office/drawing/2014/main" id="{F749E689-4E6D-481F-99B3-D26F79BE399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30" name="Freeform 14">
              <a:extLst>
                <a:ext uri="{FF2B5EF4-FFF2-40B4-BE49-F238E27FC236}">
                  <a16:creationId xmlns:a16="http://schemas.microsoft.com/office/drawing/2014/main" id="{C9A105F6-34CE-4A24-8EB2-03938467557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195396690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hasCustomPrompt="1"/>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Advanced graphics timesaver</a:t>
            </a:r>
          </a:p>
          <a:p>
            <a:pPr lvl="0"/>
            <a:endParaRPr lang="en-US"/>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871803159"/>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2851578" y="806196"/>
            <a:ext cx="6651205" cy="5404104"/>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10"/>
            <a:ext cx="4446270"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70"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055BDAFE-CEAD-46D2-9E22-C51523158CB5}"/>
              </a:ext>
            </a:extLst>
          </p:cNvPr>
          <p:cNvGrpSpPr>
            <a:grpSpLocks noChangeAspect="1"/>
          </p:cNvGrpSpPr>
          <p:nvPr userDrawn="1"/>
        </p:nvGrpSpPr>
        <p:grpSpPr>
          <a:xfrm>
            <a:off x="465220" y="377999"/>
            <a:ext cx="2475914" cy="382438"/>
            <a:chOff x="398463" y="404813"/>
            <a:chExt cx="1627187" cy="307976"/>
          </a:xfrm>
          <a:solidFill>
            <a:schemeClr val="tx1"/>
          </a:solidFill>
        </p:grpSpPr>
        <p:sp>
          <p:nvSpPr>
            <p:cNvPr id="17" name="Oval 5">
              <a:extLst>
                <a:ext uri="{FF2B5EF4-FFF2-40B4-BE49-F238E27FC236}">
                  <a16:creationId xmlns:a16="http://schemas.microsoft.com/office/drawing/2014/main" id="{951AFDC4-B5A9-4D6E-B20E-2A80CC7BF38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715E6778-A6FE-4DEF-B67F-6449625D385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93F46C6A-B3AA-4A09-A8E5-83BF07C3B3E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8">
              <a:extLst>
                <a:ext uri="{FF2B5EF4-FFF2-40B4-BE49-F238E27FC236}">
                  <a16:creationId xmlns:a16="http://schemas.microsoft.com/office/drawing/2014/main" id="{080BEF6A-2FB8-46A5-9449-990730946B7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Rectangle 9">
              <a:extLst>
                <a:ext uri="{FF2B5EF4-FFF2-40B4-BE49-F238E27FC236}">
                  <a16:creationId xmlns:a16="http://schemas.microsoft.com/office/drawing/2014/main" id="{48EE247B-AE7A-4741-85AC-F1DADEFFE81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Rectangle 10">
              <a:extLst>
                <a:ext uri="{FF2B5EF4-FFF2-40B4-BE49-F238E27FC236}">
                  <a16:creationId xmlns:a16="http://schemas.microsoft.com/office/drawing/2014/main" id="{50B20324-442C-4AEC-B84B-B0D8049346B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Freeform 11">
              <a:extLst>
                <a:ext uri="{FF2B5EF4-FFF2-40B4-BE49-F238E27FC236}">
                  <a16:creationId xmlns:a16="http://schemas.microsoft.com/office/drawing/2014/main" id="{36D887F6-D6E2-4C3A-BB06-9AA29713AB5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Freeform 12">
              <a:extLst>
                <a:ext uri="{FF2B5EF4-FFF2-40B4-BE49-F238E27FC236}">
                  <a16:creationId xmlns:a16="http://schemas.microsoft.com/office/drawing/2014/main" id="{DBA9AA5E-7869-489F-B0F0-BF99D41AC4B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5" name="Freeform 13">
              <a:extLst>
                <a:ext uri="{FF2B5EF4-FFF2-40B4-BE49-F238E27FC236}">
                  <a16:creationId xmlns:a16="http://schemas.microsoft.com/office/drawing/2014/main" id="{7D785D54-A863-44CE-A2A7-8E841156C1C7}"/>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6" name="Freeform 14">
              <a:extLst>
                <a:ext uri="{FF2B5EF4-FFF2-40B4-BE49-F238E27FC236}">
                  <a16:creationId xmlns:a16="http://schemas.microsoft.com/office/drawing/2014/main" id="{939733E6-DA0D-4D13-9866-1FF3E9C1C451}"/>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683937437"/>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38491818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68787376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518743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1148117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1785628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40711293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3"/>
            </p:custDataLst>
            <p:extLst>
              <p:ext uri="{D42A27DB-BD31-4B8C-83A1-F6EECF244321}">
                <p14:modId xmlns:p14="http://schemas.microsoft.com/office/powerpoint/2010/main" val="75063384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4" name="Object 3" hidden="1"/>
                      <p:cNvPicPr/>
                      <p:nvPr/>
                    </p:nvPicPr>
                    <p:blipFill>
                      <a:blip r:embed="rId35"/>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TextBox 14"/>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TextBox 17"/>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843315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3" r:id="rId28"/>
    <p:sldLayoutId id="2147483694" r:id="rId29"/>
    <p:sldLayoutId id="2147483695" r:id="rId30"/>
    <p:sldLayoutId id="2147483697" r:id="rId31"/>
  </p:sldLayoutIdLst>
  <p:transition>
    <p:fade/>
  </p:transition>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customXml" Target="../../customXml/item7.xml"/><Relationship Id="rId1" Type="http://schemas.openxmlformats.org/officeDocument/2006/relationships/customXml" Target="../../customXml/item6.xml"/><Relationship Id="rId6" Type="http://schemas.openxmlformats.org/officeDocument/2006/relationships/image" Target="../media/image2.png"/><Relationship Id="rId5" Type="http://schemas.openxmlformats.org/officeDocument/2006/relationships/notesSlide" Target="../notesSlides/notesSlide1.xml"/><Relationship Id="rId4"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8.svg"/><Relationship Id="rId7" Type="http://schemas.openxmlformats.org/officeDocument/2006/relationships/image" Target="../media/image4.jpeg"/><Relationship Id="rId2" Type="http://schemas.openxmlformats.org/officeDocument/2006/relationships/image" Target="../media/image7.png"/><Relationship Id="rId1" Type="http://schemas.openxmlformats.org/officeDocument/2006/relationships/slideLayout" Target="../slideLayouts/slideLayout27.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3.svg"/></Relationships>
</file>

<file path=ppt/slides/_rels/slide1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diagramLayout" Target="../diagrams/layout7.xml"/><Relationship Id="rId7" Type="http://schemas.openxmlformats.org/officeDocument/2006/relationships/image" Target="../media/image15.png"/><Relationship Id="rId2" Type="http://schemas.openxmlformats.org/officeDocument/2006/relationships/diagramData" Target="../diagrams/data7.xml"/><Relationship Id="rId1" Type="http://schemas.openxmlformats.org/officeDocument/2006/relationships/slideLayout" Target="../slideLayouts/slideLayout27.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11.svg"/><Relationship Id="rId3" Type="http://schemas.openxmlformats.org/officeDocument/2006/relationships/image" Target="../media/image17.svg"/><Relationship Id="rId7" Type="http://schemas.openxmlformats.org/officeDocument/2006/relationships/image" Target="../media/image19.png"/><Relationship Id="rId12" Type="http://schemas.openxmlformats.org/officeDocument/2006/relationships/image" Target="../media/image10.png"/><Relationship Id="rId17" Type="http://schemas.openxmlformats.org/officeDocument/2006/relationships/image" Target="../media/image9.png"/><Relationship Id="rId2" Type="http://schemas.openxmlformats.org/officeDocument/2006/relationships/image" Target="../media/image16.png"/><Relationship Id="rId16" Type="http://schemas.openxmlformats.org/officeDocument/2006/relationships/image" Target="../media/image4.jpeg"/><Relationship Id="rId1" Type="http://schemas.openxmlformats.org/officeDocument/2006/relationships/slideLayout" Target="../slideLayouts/slideLayout20.xml"/><Relationship Id="rId6" Type="http://schemas.openxmlformats.org/officeDocument/2006/relationships/image" Target="../media/image8.svg"/><Relationship Id="rId11" Type="http://schemas.openxmlformats.org/officeDocument/2006/relationships/image" Target="../media/image23.png"/><Relationship Id="rId5" Type="http://schemas.openxmlformats.org/officeDocument/2006/relationships/image" Target="../media/image7.png"/><Relationship Id="rId15" Type="http://schemas.openxmlformats.org/officeDocument/2006/relationships/image" Target="../media/image13.svg"/><Relationship Id="rId10" Type="http://schemas.openxmlformats.org/officeDocument/2006/relationships/image" Target="../media/image22.svg"/><Relationship Id="rId4" Type="http://schemas.openxmlformats.org/officeDocument/2006/relationships/image" Target="../media/image18.png"/><Relationship Id="rId9" Type="http://schemas.openxmlformats.org/officeDocument/2006/relationships/image" Target="../media/image21.png"/><Relationship Id="rId14"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customXml" Target="../../customXml/item11.xml"/><Relationship Id="rId1" Type="http://schemas.openxmlformats.org/officeDocument/2006/relationships/customXml" Target="../../customXml/item10.xml"/><Relationship Id="rId4" Type="http://schemas.openxmlformats.org/officeDocument/2006/relationships/notesSlide" Target="../notesSlides/notesSlide2.xml"/></Relationships>
</file>

<file path=ppt/slides/_rels/slide1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customXml" Target="../../customXml/item13.xml"/><Relationship Id="rId1" Type="http://schemas.openxmlformats.org/officeDocument/2006/relationships/customXml" Target="../../customXml/item12.xml"/><Relationship Id="rId5" Type="http://schemas.openxmlformats.org/officeDocument/2006/relationships/notesSlide" Target="../notesSlides/notesSlide3.xml"/><Relationship Id="rId4"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customXml" Target="../../customXml/item15.xml"/><Relationship Id="rId1" Type="http://schemas.openxmlformats.org/officeDocument/2006/relationships/customXml" Target="../../customXml/item14.xml"/><Relationship Id="rId5" Type="http://schemas.openxmlformats.org/officeDocument/2006/relationships/image" Target="../media/image24.bin"/><Relationship Id="rId4"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customXml" Target="../../customXml/item17.xml"/><Relationship Id="rId1" Type="http://schemas.openxmlformats.org/officeDocument/2006/relationships/customXml" Target="../../customXml/item16.xml"/><Relationship Id="rId5" Type="http://schemas.openxmlformats.org/officeDocument/2006/relationships/image" Target="../media/image25.png"/><Relationship Id="rId4" Type="http://schemas.openxmlformats.org/officeDocument/2006/relationships/notesSlide" Target="../notesSlides/notesSlide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customXml" Target="../../customXml/item19.xml"/><Relationship Id="rId1" Type="http://schemas.openxmlformats.org/officeDocument/2006/relationships/customXml" Target="../../customXml/item18.xml"/><Relationship Id="rId5" Type="http://schemas.openxmlformats.org/officeDocument/2006/relationships/image" Target="../media/image26.png"/><Relationship Id="rId4" Type="http://schemas.openxmlformats.org/officeDocument/2006/relationships/notesSlide" Target="../notesSlides/notesSlide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customXml" Target="../../customXml/item21.xml"/><Relationship Id="rId1" Type="http://schemas.openxmlformats.org/officeDocument/2006/relationships/customXml" Target="../../customXml/item20.xml"/><Relationship Id="rId5" Type="http://schemas.openxmlformats.org/officeDocument/2006/relationships/image" Target="../media/image27.png"/><Relationship Id="rId4" Type="http://schemas.openxmlformats.org/officeDocument/2006/relationships/notesSlide" Target="../notesSlides/notesSlide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customXml" Target="../../customXml/item23.xml"/><Relationship Id="rId1" Type="http://schemas.openxmlformats.org/officeDocument/2006/relationships/customXml" Target="../../customXml/item22.xml"/><Relationship Id="rId5" Type="http://schemas.openxmlformats.org/officeDocument/2006/relationships/image" Target="../media/image28.png"/><Relationship Id="rId4"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customXml" Target="../../customXml/item25.xml"/><Relationship Id="rId1" Type="http://schemas.openxmlformats.org/officeDocument/2006/relationships/customXml" Target="../../customXml/item24.xml"/><Relationship Id="rId5" Type="http://schemas.openxmlformats.org/officeDocument/2006/relationships/image" Target="../media/image29.png"/><Relationship Id="rId4" Type="http://schemas.openxmlformats.org/officeDocument/2006/relationships/notesSlide" Target="../notesSlides/notesSlide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customXml" Target="../../customXml/item27.xml"/><Relationship Id="rId1" Type="http://schemas.openxmlformats.org/officeDocument/2006/relationships/customXml" Target="../../customXml/item26.xml"/><Relationship Id="rId5" Type="http://schemas.openxmlformats.org/officeDocument/2006/relationships/image" Target="../media/image30.png"/><Relationship Id="rId4" Type="http://schemas.openxmlformats.org/officeDocument/2006/relationships/notesSlide" Target="../notesSlides/notesSlide9.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customXml" Target="../../customXml/item29.xml"/><Relationship Id="rId1" Type="http://schemas.openxmlformats.org/officeDocument/2006/relationships/customXml" Target="../../customXml/item28.xml"/><Relationship Id="rId5" Type="http://schemas.openxmlformats.org/officeDocument/2006/relationships/image" Target="../media/image31.png"/><Relationship Id="rId4" Type="http://schemas.openxmlformats.org/officeDocument/2006/relationships/notesSlide" Target="../notesSlides/notesSlide10.xml"/></Relationships>
</file>

<file path=ppt/slides/_rels/slide2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customXml" Target="../../customXml/item31.xml"/><Relationship Id="rId1" Type="http://schemas.openxmlformats.org/officeDocument/2006/relationships/customXml" Target="../../customXml/item30.xml"/><Relationship Id="rId5" Type="http://schemas.openxmlformats.org/officeDocument/2006/relationships/hyperlink" Target="http://www.deloitte.com/about" TargetMode="External"/><Relationship Id="rId4"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3" Type="http://schemas.openxmlformats.org/officeDocument/2006/relationships/slideLayout" Target="../slideLayouts/slideLayout27.xml"/><Relationship Id="rId7" Type="http://schemas.openxmlformats.org/officeDocument/2006/relationships/diagramColors" Target="../diagrams/colors1.xml"/><Relationship Id="rId12" Type="http://schemas.openxmlformats.org/officeDocument/2006/relationships/diagramColors" Target="../diagrams/colors2.xml"/><Relationship Id="rId2" Type="http://schemas.openxmlformats.org/officeDocument/2006/relationships/customXml" Target="../../customXml/item9.xml"/><Relationship Id="rId1" Type="http://schemas.openxmlformats.org/officeDocument/2006/relationships/customXml" Target="../../customXml/item8.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Layout" Target="../diagrams/layout3.xml"/><Relationship Id="rId7" Type="http://schemas.openxmlformats.org/officeDocument/2006/relationships/image" Target="../media/image4.jpeg"/><Relationship Id="rId2" Type="http://schemas.openxmlformats.org/officeDocument/2006/relationships/diagramData" Target="../diagrams/data3.xml"/><Relationship Id="rId1" Type="http://schemas.openxmlformats.org/officeDocument/2006/relationships/slideLayout" Target="../slideLayouts/slideLayout2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8.svg"/><Relationship Id="rId7" Type="http://schemas.openxmlformats.org/officeDocument/2006/relationships/image" Target="../media/image4.jpeg"/><Relationship Id="rId2" Type="http://schemas.openxmlformats.org/officeDocument/2006/relationships/image" Target="../media/image7.png"/><Relationship Id="rId1" Type="http://schemas.openxmlformats.org/officeDocument/2006/relationships/slideLayout" Target="../slideLayouts/slideLayout27.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3.svg"/></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27.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Layout" Target="../diagrams/layout6.xml"/><Relationship Id="rId7" Type="http://schemas.openxmlformats.org/officeDocument/2006/relationships/image" Target="../media/image4.jpeg"/><Relationship Id="rId2" Type="http://schemas.openxmlformats.org/officeDocument/2006/relationships/diagramData" Target="../diagrams/data6.xml"/><Relationship Id="rId1" Type="http://schemas.openxmlformats.org/officeDocument/2006/relationships/slideLayout" Target="../slideLayouts/slideLayout27.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E327673-1413-4DDD-9B6F-FD99E249528C}"/>
              </a:ext>
            </a:extLst>
          </p:cNvPr>
          <p:cNvPicPr>
            <a:picLocks noChangeAspect="1"/>
          </p:cNvPicPr>
          <p:nvPr/>
        </p:nvPicPr>
        <p:blipFill>
          <a:blip r:embed="rId6"/>
          <a:srcRect/>
          <a:stretch/>
        </p:blipFill>
        <p:spPr>
          <a:xfrm>
            <a:off x="10694852" y="5659120"/>
            <a:ext cx="1198880" cy="1198880"/>
          </a:xfrm>
          <a:prstGeom prst="rect">
            <a:avLst/>
          </a:prstGeom>
        </p:spPr>
      </p:pic>
      <p:sp>
        <p:nvSpPr>
          <p:cNvPr id="9" name="Title 2">
            <a:extLst>
              <a:ext uri="{FF2B5EF4-FFF2-40B4-BE49-F238E27FC236}">
                <a16:creationId xmlns:a16="http://schemas.microsoft.com/office/drawing/2014/main" id="{0BB0C0D3-0E6F-764F-ADFD-A1A8DF9DCF8E}"/>
              </a:ext>
            </a:extLst>
          </p:cNvPr>
          <p:cNvSpPr txBox="1">
            <a:spLocks/>
          </p:cNvSpPr>
          <p:nvPr/>
        </p:nvSpPr>
        <p:spPr bwMode="gray">
          <a:xfrm>
            <a:off x="501651" y="5186207"/>
            <a:ext cx="4446269" cy="895983"/>
          </a:xfrm>
          <a:prstGeom prst="rect">
            <a:avLst/>
          </a:prstGeom>
        </p:spPr>
        <p:txBody>
          <a:bodyPr vert="horz" lIns="0" tIns="0" rIns="0" bIns="0" rtlCol="0" anchor="b" anchorCtr="0">
            <a:noAutofit/>
          </a:bodyPr>
          <a:lstStyle>
            <a:lvl1pPr algn="l" defTabSz="6858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a:t>LA NUOVA APP DI ORA</a:t>
            </a:r>
            <a:br>
              <a:rPr lang="en-GB"/>
            </a:br>
            <a:r>
              <a:rPr lang="en-US">
                <a:solidFill>
                  <a:schemeClr val="bg1"/>
                </a:solidFill>
              </a:rPr>
              <a:t>PER GESTIONE  DATI</a:t>
            </a:r>
          </a:p>
        </p:txBody>
      </p:sp>
      <p:sp>
        <p:nvSpPr>
          <p:cNvPr id="10" name="Text Placeholder 4">
            <a:extLst>
              <a:ext uri="{FF2B5EF4-FFF2-40B4-BE49-F238E27FC236}">
                <a16:creationId xmlns:a16="http://schemas.microsoft.com/office/drawing/2014/main" id="{6E62AF7C-D11A-9D40-92E3-A706C56E95D6}"/>
              </a:ext>
            </a:extLst>
          </p:cNvPr>
          <p:cNvSpPr txBox="1">
            <a:spLocks/>
          </p:cNvSpPr>
          <p:nvPr/>
        </p:nvSpPr>
        <p:spPr>
          <a:xfrm>
            <a:off x="501651" y="6381750"/>
            <a:ext cx="4446269" cy="273050"/>
          </a:xfrm>
          <a:prstGeom prst="rect">
            <a:avLst/>
          </a:prstGeom>
        </p:spPr>
        <p:txBody>
          <a:bodyPr vert="horz" lIns="0" tIns="0" rIns="0" bIns="0" rtlCol="0" anchor="t">
            <a:noAutofit/>
          </a:bodyPr>
          <a:lstStyle>
            <a:lvl1pPr marL="0" indent="0" algn="l" defTabSz="685800" rtl="0" eaLnBrk="1" latinLnBrk="0" hangingPunct="1">
              <a:spcBef>
                <a:spcPts val="0"/>
              </a:spcBef>
              <a:spcAft>
                <a:spcPts val="0"/>
              </a:spcAft>
              <a:buSzPct val="100000"/>
              <a:buFontTx/>
              <a:buNone/>
              <a:defRPr sz="1400" b="1" kern="1200">
                <a:solidFill>
                  <a:schemeClr val="bg1"/>
                </a:solidFill>
                <a:latin typeface="Calibri" panose="020F0502020204030204" pitchFamily="34" charset="0"/>
                <a:ea typeface="+mn-ea"/>
                <a:cs typeface="Calibri" panose="020F05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bg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bg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bg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bg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cap="all" err="1"/>
              <a:t>Febbraio</a:t>
            </a:r>
            <a:r>
              <a:rPr lang="en-GB" cap="all"/>
              <a:t> 2023</a:t>
            </a:r>
          </a:p>
        </p:txBody>
      </p:sp>
      <p:pic>
        <p:nvPicPr>
          <p:cNvPr id="17" name="Picture 16">
            <a:extLst>
              <a:ext uri="{FF2B5EF4-FFF2-40B4-BE49-F238E27FC236}">
                <a16:creationId xmlns:a16="http://schemas.microsoft.com/office/drawing/2014/main" id="{025D5513-8A1E-B449-A924-1FE6AD638960}"/>
              </a:ext>
            </a:extLst>
          </p:cNvPr>
          <p:cNvPicPr>
            <a:picLocks noChangeAspect="1"/>
          </p:cNvPicPr>
          <p:nvPr/>
        </p:nvPicPr>
        <p:blipFill>
          <a:blip r:embed="rId7"/>
          <a:stretch>
            <a:fillRect/>
          </a:stretch>
        </p:blipFill>
        <p:spPr>
          <a:xfrm>
            <a:off x="4065494" y="1236232"/>
            <a:ext cx="4282440" cy="4282440"/>
          </a:xfrm>
          <a:prstGeom prst="rect">
            <a:avLst/>
          </a:prstGeom>
        </p:spPr>
      </p:pic>
    </p:spTree>
    <p:custDataLst>
      <p:custData r:id="rId1"/>
      <p:custData r:id="rId2"/>
      <p:tags r:id="rId3"/>
    </p:custDataLst>
    <p:extLst>
      <p:ext uri="{BB962C8B-B14F-4D97-AF65-F5344CB8AC3E}">
        <p14:creationId xmlns:p14="http://schemas.microsoft.com/office/powerpoint/2010/main" val="148522317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23">
            <a:extLst>
              <a:ext uri="{FF2B5EF4-FFF2-40B4-BE49-F238E27FC236}">
                <a16:creationId xmlns:a16="http://schemas.microsoft.com/office/drawing/2014/main" id="{95515F7B-17FF-4A22-BD5B-1A4DAFF77699}"/>
              </a:ext>
            </a:extLst>
          </p:cNvPr>
          <p:cNvPicPr>
            <a:picLocks noChangeAspect="1" noChangeArrowheads="1"/>
          </p:cNvPicPr>
          <p:nvPr/>
        </p:nvPicPr>
        <p:blipFill>
          <a:blip r:embed="rId2">
            <a:extLst>
              <a:ext uri="{96DAC541-7B7A-43D3-8B79-37D633B846F1}">
                <asvg:svgBlip xmlns:asvg="http://schemas.microsoft.com/office/drawing/2016/SVG/main" r:embed="rId3"/>
              </a:ext>
            </a:extLst>
          </a:blip>
          <a:srcRect/>
          <a:stretch/>
        </p:blipFill>
        <p:spPr bwMode="auto">
          <a:xfrm flipH="1">
            <a:off x="416388" y="2315429"/>
            <a:ext cx="961149" cy="96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0">
            <a:extLst>
              <a:ext uri="{FF2B5EF4-FFF2-40B4-BE49-F238E27FC236}">
                <a16:creationId xmlns:a16="http://schemas.microsoft.com/office/drawing/2014/main" id="{034E10B3-6E7E-427B-BFAD-46F3FEA56AA9}"/>
              </a:ext>
            </a:extLst>
          </p:cNvPr>
          <p:cNvSpPr txBox="1">
            <a:spLocks noChangeArrowheads="1"/>
          </p:cNvSpPr>
          <p:nvPr/>
        </p:nvSpPr>
        <p:spPr bwMode="auto">
          <a:xfrm>
            <a:off x="360387" y="3368476"/>
            <a:ext cx="10731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solidFill>
                  <a:srgbClr val="000000"/>
                </a:solidFill>
                <a:latin typeface="Arial" panose="020B0604020202020204" pitchFamily="34" charset="0"/>
                <a:cs typeface="Arial" panose="020B0604020202020204" pitchFamily="34" charset="0"/>
              </a:rPr>
              <a:t>Users</a:t>
            </a:r>
          </a:p>
        </p:txBody>
      </p:sp>
      <p:cxnSp>
        <p:nvCxnSpPr>
          <p:cNvPr id="4" name="Straight Arrow Connector 3">
            <a:extLst>
              <a:ext uri="{FF2B5EF4-FFF2-40B4-BE49-F238E27FC236}">
                <a16:creationId xmlns:a16="http://schemas.microsoft.com/office/drawing/2014/main" id="{484A5206-08E2-469C-A057-33F9DFB396AE}"/>
              </a:ext>
            </a:extLst>
          </p:cNvPr>
          <p:cNvCxnSpPr>
            <a:cxnSpLocks/>
          </p:cNvCxnSpPr>
          <p:nvPr/>
        </p:nvCxnSpPr>
        <p:spPr>
          <a:xfrm>
            <a:off x="1731973" y="2790811"/>
            <a:ext cx="524339" cy="0"/>
          </a:xfrm>
          <a:prstGeom prst="straightConnector1">
            <a:avLst/>
          </a:prstGeom>
          <a:ln w="12700">
            <a:solidFill>
              <a:schemeClr val="tx2"/>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6" name="Freeform 624">
            <a:extLst>
              <a:ext uri="{FF2B5EF4-FFF2-40B4-BE49-F238E27FC236}">
                <a16:creationId xmlns:a16="http://schemas.microsoft.com/office/drawing/2014/main" id="{D7C0C09D-F3D0-43E1-9BE5-D1EA383ED1EA}"/>
              </a:ext>
            </a:extLst>
          </p:cNvPr>
          <p:cNvSpPr>
            <a:spLocks noChangeAspect="1" noEditPoints="1"/>
          </p:cNvSpPr>
          <p:nvPr/>
        </p:nvSpPr>
        <p:spPr bwMode="auto">
          <a:xfrm>
            <a:off x="2610748" y="2355881"/>
            <a:ext cx="920697" cy="920697"/>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solidFill>
          <a:ln>
            <a:noFill/>
          </a:ln>
        </p:spPr>
        <p:txBody>
          <a:bodyPr vert="horz" wrap="square" lIns="121446" tIns="60723" rIns="121446" bIns="60723" numCol="1" anchor="t" anchorCtr="0" compatLnSpc="1">
            <a:prstTxWarp prst="textNoShape">
              <a:avLst/>
            </a:prstTxWarp>
          </a:bodyPr>
          <a:lstStyle/>
          <a:p>
            <a:endParaRPr lang="en-GB" sz="319"/>
          </a:p>
        </p:txBody>
      </p:sp>
      <p:sp>
        <p:nvSpPr>
          <p:cNvPr id="7" name="TextBox 25">
            <a:extLst>
              <a:ext uri="{FF2B5EF4-FFF2-40B4-BE49-F238E27FC236}">
                <a16:creationId xmlns:a16="http://schemas.microsoft.com/office/drawing/2014/main" id="{EB4C77B7-96CF-49F1-8A6C-71E59D58AB92}"/>
              </a:ext>
            </a:extLst>
          </p:cNvPr>
          <p:cNvSpPr txBox="1">
            <a:spLocks noChangeArrowheads="1"/>
          </p:cNvSpPr>
          <p:nvPr/>
        </p:nvSpPr>
        <p:spPr bwMode="auto">
          <a:xfrm>
            <a:off x="2391488" y="3368476"/>
            <a:ext cx="135921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Arial" panose="020B0604020202020204" pitchFamily="34" charset="0"/>
                <a:ea typeface="Amazon Ember" panose="020B0603020204020204" pitchFamily="34" charset="0"/>
                <a:cs typeface="Arial" panose="020B0604020202020204" pitchFamily="34" charset="0"/>
              </a:rPr>
              <a:t>Application</a:t>
            </a:r>
          </a:p>
        </p:txBody>
      </p:sp>
      <p:pic>
        <p:nvPicPr>
          <p:cNvPr id="10" name="Graphic 31">
            <a:extLst>
              <a:ext uri="{FF2B5EF4-FFF2-40B4-BE49-F238E27FC236}">
                <a16:creationId xmlns:a16="http://schemas.microsoft.com/office/drawing/2014/main" id="{1C8A544D-4954-4E6E-8528-231281788D9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4825" y="5519923"/>
            <a:ext cx="961149" cy="96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25">
            <a:extLst>
              <a:ext uri="{FF2B5EF4-FFF2-40B4-BE49-F238E27FC236}">
                <a16:creationId xmlns:a16="http://schemas.microsoft.com/office/drawing/2014/main" id="{F8649AA4-9FC6-426C-93A1-7E3E90200122}"/>
              </a:ext>
            </a:extLst>
          </p:cNvPr>
          <p:cNvSpPr txBox="1">
            <a:spLocks noChangeArrowheads="1"/>
          </p:cNvSpPr>
          <p:nvPr/>
        </p:nvSpPr>
        <p:spPr bwMode="auto">
          <a:xfrm>
            <a:off x="5305791" y="6451596"/>
            <a:ext cx="135921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Arial" panose="020B0604020202020204" pitchFamily="34" charset="0"/>
                <a:ea typeface="Amazon Ember" panose="020B0603020204020204" pitchFamily="34" charset="0"/>
                <a:cs typeface="Arial" panose="020B0604020202020204" pitchFamily="34" charset="0"/>
              </a:rPr>
              <a:t>Amazon S3 Bucket</a:t>
            </a:r>
          </a:p>
        </p:txBody>
      </p:sp>
      <p:pic>
        <p:nvPicPr>
          <p:cNvPr id="12" name="Graphic 8">
            <a:extLst>
              <a:ext uri="{FF2B5EF4-FFF2-40B4-BE49-F238E27FC236}">
                <a16:creationId xmlns:a16="http://schemas.microsoft.com/office/drawing/2014/main" id="{9D0A5935-F1E0-4B26-8D7D-0A247F3D6B74}"/>
              </a:ext>
            </a:extLst>
          </p:cNvPr>
          <p:cNvPicPr>
            <a:picLocks noChangeAspect="1" noChangeArrowheads="1"/>
          </p:cNvPicPr>
          <p:nvPr/>
        </p:nvPicPr>
        <p:blipFill>
          <a:blip r:embed="rId5">
            <a:extLst>
              <a:ext uri="{96DAC541-7B7A-43D3-8B79-37D633B846F1}">
                <asvg:svgBlip xmlns:asvg="http://schemas.microsoft.com/office/drawing/2016/SVG/main" r:embed="rId6"/>
              </a:ext>
            </a:extLst>
          </a:blip>
          <a:srcRect/>
          <a:stretch/>
        </p:blipFill>
        <p:spPr bwMode="auto">
          <a:xfrm>
            <a:off x="5721922" y="1260831"/>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25">
            <a:extLst>
              <a:ext uri="{FF2B5EF4-FFF2-40B4-BE49-F238E27FC236}">
                <a16:creationId xmlns:a16="http://schemas.microsoft.com/office/drawing/2014/main" id="{D5FFD51A-CA12-4A40-B3CB-47BABF22C28F}"/>
              </a:ext>
            </a:extLst>
          </p:cNvPr>
          <p:cNvSpPr txBox="1">
            <a:spLocks noChangeArrowheads="1"/>
          </p:cNvSpPr>
          <p:nvPr/>
        </p:nvSpPr>
        <p:spPr bwMode="auto">
          <a:xfrm>
            <a:off x="1320885" y="2277821"/>
            <a:ext cx="135921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err="1">
                <a:latin typeface="Arial" panose="020B0604020202020204" pitchFamily="34" charset="0"/>
                <a:ea typeface="Amazon Ember" panose="020B0603020204020204" pitchFamily="34" charset="0"/>
                <a:cs typeface="Arial" panose="020B0604020202020204" pitchFamily="34" charset="0"/>
              </a:rPr>
              <a:t>Tramite</a:t>
            </a:r>
            <a:r>
              <a:rPr lang="en-US" altLang="en-US" sz="1100" dirty="0">
                <a:latin typeface="Arial" panose="020B0604020202020204" pitchFamily="34" charset="0"/>
                <a:ea typeface="Amazon Ember" panose="020B0603020204020204" pitchFamily="34" charset="0"/>
                <a:cs typeface="Arial" panose="020B0604020202020204" pitchFamily="34" charset="0"/>
              </a:rPr>
              <a:t> </a:t>
            </a:r>
            <a:r>
              <a:rPr lang="en-US" altLang="en-US" sz="1100" dirty="0" err="1">
                <a:latin typeface="Arial" panose="020B0604020202020204" pitchFamily="34" charset="0"/>
                <a:ea typeface="Amazon Ember" panose="020B0603020204020204" pitchFamily="34" charset="0"/>
                <a:cs typeface="Arial" panose="020B0604020202020204" pitchFamily="34" charset="0"/>
              </a:rPr>
              <a:t>L’Application</a:t>
            </a:r>
            <a:r>
              <a:rPr lang="en-US" altLang="en-US" sz="1100" dirty="0">
                <a:latin typeface="Arial" panose="020B0604020202020204" pitchFamily="34" charset="0"/>
                <a:ea typeface="Amazon Ember" panose="020B0603020204020204" pitchFamily="34" charset="0"/>
                <a:cs typeface="Arial" panose="020B0604020202020204" pitchFamily="34" charset="0"/>
              </a:rPr>
              <a:t> API</a:t>
            </a:r>
          </a:p>
        </p:txBody>
      </p:sp>
      <p:sp>
        <p:nvSpPr>
          <p:cNvPr id="15" name="TextBox 25">
            <a:extLst>
              <a:ext uri="{FF2B5EF4-FFF2-40B4-BE49-F238E27FC236}">
                <a16:creationId xmlns:a16="http://schemas.microsoft.com/office/drawing/2014/main" id="{1E7E952C-BB23-4363-92AD-956ABB4CB95C}"/>
              </a:ext>
            </a:extLst>
          </p:cNvPr>
          <p:cNvSpPr txBox="1">
            <a:spLocks noChangeArrowheads="1"/>
          </p:cNvSpPr>
          <p:nvPr/>
        </p:nvSpPr>
        <p:spPr bwMode="auto">
          <a:xfrm>
            <a:off x="3880253" y="2272041"/>
            <a:ext cx="135921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en-US" sz="1100" dirty="0" err="1">
                <a:latin typeface="Arial" panose="020B0604020202020204" pitchFamily="34" charset="0"/>
                <a:ea typeface="Amazon Ember" panose="020B0603020204020204" pitchFamily="34" charset="0"/>
                <a:cs typeface="Arial" panose="020B0604020202020204" pitchFamily="34" charset="0"/>
              </a:rPr>
              <a:t>Scelgiamo</a:t>
            </a:r>
            <a:r>
              <a:rPr lang="it-IT" altLang="en-US" sz="1100" dirty="0">
                <a:latin typeface="Arial" panose="020B0604020202020204" pitchFamily="34" charset="0"/>
                <a:ea typeface="Amazon Ember" panose="020B0603020204020204" pitchFamily="34" charset="0"/>
                <a:cs typeface="Arial" panose="020B0604020202020204" pitchFamily="34" charset="0"/>
              </a:rPr>
              <a:t> un file </a:t>
            </a:r>
            <a:r>
              <a:rPr lang="it-IT" altLang="en-US" sz="1100" dirty="0" err="1">
                <a:latin typeface="Arial" panose="020B0604020202020204" pitchFamily="34" charset="0"/>
                <a:ea typeface="Amazon Ember" panose="020B0603020204020204" pitchFamily="34" charset="0"/>
                <a:cs typeface="Arial" panose="020B0604020202020204" pitchFamily="34" charset="0"/>
              </a:rPr>
              <a:t>oggeto</a:t>
            </a:r>
            <a:r>
              <a:rPr lang="it-IT" altLang="en-US" sz="1100" dirty="0">
                <a:latin typeface="Arial" panose="020B0604020202020204" pitchFamily="34" charset="0"/>
                <a:ea typeface="Amazon Ember" panose="020B0603020204020204" pitchFamily="34" charset="0"/>
                <a:cs typeface="Arial" panose="020B0604020202020204" pitchFamily="34" charset="0"/>
              </a:rPr>
              <a:t> dal </a:t>
            </a:r>
            <a:r>
              <a:rPr lang="it-IT" altLang="en-US" sz="1100" dirty="0" err="1">
                <a:latin typeface="Arial" panose="020B0604020202020204" pitchFamily="34" charset="0"/>
                <a:ea typeface="Amazon Ember" panose="020B0603020204020204" pitchFamily="34" charset="0"/>
                <a:cs typeface="Arial" panose="020B0604020202020204" pitchFamily="34" charset="0"/>
              </a:rPr>
              <a:t>Cubbit</a:t>
            </a:r>
            <a:endParaRPr lang="en-US" altLang="en-US" sz="1100" dirty="0">
              <a:latin typeface="Arial" panose="020B0604020202020204" pitchFamily="34" charset="0"/>
              <a:ea typeface="Amazon Ember" panose="020B0603020204020204" pitchFamily="34" charset="0"/>
              <a:cs typeface="Arial" panose="020B0604020202020204" pitchFamily="34" charset="0"/>
            </a:endParaRPr>
          </a:p>
        </p:txBody>
      </p:sp>
      <p:cxnSp>
        <p:nvCxnSpPr>
          <p:cNvPr id="16" name="Straight Arrow Connector 15">
            <a:extLst>
              <a:ext uri="{FF2B5EF4-FFF2-40B4-BE49-F238E27FC236}">
                <a16:creationId xmlns:a16="http://schemas.microsoft.com/office/drawing/2014/main" id="{AA20E8D0-D32F-4D1A-9900-E35C955AE437}"/>
              </a:ext>
            </a:extLst>
          </p:cNvPr>
          <p:cNvCxnSpPr>
            <a:cxnSpLocks/>
          </p:cNvCxnSpPr>
          <p:nvPr/>
        </p:nvCxnSpPr>
        <p:spPr>
          <a:xfrm>
            <a:off x="3927800" y="2816229"/>
            <a:ext cx="1264122"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1552811F-CD79-474A-AFEE-254212780756}"/>
              </a:ext>
            </a:extLst>
          </p:cNvPr>
          <p:cNvCxnSpPr>
            <a:cxnSpLocks/>
          </p:cNvCxnSpPr>
          <p:nvPr/>
        </p:nvCxnSpPr>
        <p:spPr>
          <a:xfrm>
            <a:off x="3556969" y="3799239"/>
            <a:ext cx="1859422" cy="1734662"/>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pic>
        <p:nvPicPr>
          <p:cNvPr id="21" name="Picture 20" descr="A picture containing text, clipart&#10;&#10;Description automatically generated">
            <a:extLst>
              <a:ext uri="{FF2B5EF4-FFF2-40B4-BE49-F238E27FC236}">
                <a16:creationId xmlns:a16="http://schemas.microsoft.com/office/drawing/2014/main" id="{85E9A4E2-047B-4CB0-9625-46858F4B89DE}"/>
              </a:ext>
            </a:extLst>
          </p:cNvPr>
          <p:cNvPicPr>
            <a:picLocks noChangeAspect="1"/>
          </p:cNvPicPr>
          <p:nvPr/>
        </p:nvPicPr>
        <p:blipFill>
          <a:blip r:embed="rId7"/>
          <a:stretch>
            <a:fillRect/>
          </a:stretch>
        </p:blipFill>
        <p:spPr>
          <a:xfrm>
            <a:off x="5239469" y="2464711"/>
            <a:ext cx="2143588" cy="765829"/>
          </a:xfrm>
          <a:prstGeom prst="rect">
            <a:avLst/>
          </a:prstGeom>
        </p:spPr>
      </p:pic>
      <p:sp>
        <p:nvSpPr>
          <p:cNvPr id="22" name="TextBox 25">
            <a:extLst>
              <a:ext uri="{FF2B5EF4-FFF2-40B4-BE49-F238E27FC236}">
                <a16:creationId xmlns:a16="http://schemas.microsoft.com/office/drawing/2014/main" id="{552347CD-6719-4C89-BB48-5D7A5E56AF34}"/>
              </a:ext>
            </a:extLst>
          </p:cNvPr>
          <p:cNvSpPr txBox="1">
            <a:spLocks noChangeArrowheads="1"/>
          </p:cNvSpPr>
          <p:nvPr/>
        </p:nvSpPr>
        <p:spPr bwMode="auto">
          <a:xfrm>
            <a:off x="5277264" y="3414642"/>
            <a:ext cx="135921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err="1">
                <a:latin typeface="Arial" panose="020B0604020202020204" pitchFamily="34" charset="0"/>
                <a:ea typeface="Amazon Ember" panose="020B0603020204020204" pitchFamily="34" charset="0"/>
                <a:cs typeface="Arial" panose="020B0604020202020204" pitchFamily="34" charset="0"/>
              </a:rPr>
              <a:t>Cubbit</a:t>
            </a:r>
            <a:r>
              <a:rPr lang="en-US" altLang="en-US" sz="1100" dirty="0">
                <a:latin typeface="Arial" panose="020B0604020202020204" pitchFamily="34" charset="0"/>
                <a:ea typeface="Amazon Ember" panose="020B0603020204020204" pitchFamily="34" charset="0"/>
                <a:cs typeface="Arial" panose="020B0604020202020204" pitchFamily="34" charset="0"/>
              </a:rPr>
              <a:t> S3</a:t>
            </a:r>
          </a:p>
          <a:p>
            <a:pPr algn="ctr" eaLnBrk="1" hangingPunct="1"/>
            <a:r>
              <a:rPr lang="en-US" altLang="en-US" sz="1100" dirty="0">
                <a:latin typeface="Arial" panose="020B0604020202020204" pitchFamily="34" charset="0"/>
                <a:ea typeface="Amazon Ember" panose="020B0603020204020204" pitchFamily="34" charset="0"/>
                <a:cs typeface="Arial" panose="020B0604020202020204" pitchFamily="34" charset="0"/>
              </a:rPr>
              <a:t> Bucket</a:t>
            </a:r>
          </a:p>
        </p:txBody>
      </p:sp>
      <p:sp>
        <p:nvSpPr>
          <p:cNvPr id="25" name="TextBox 25">
            <a:extLst>
              <a:ext uri="{FF2B5EF4-FFF2-40B4-BE49-F238E27FC236}">
                <a16:creationId xmlns:a16="http://schemas.microsoft.com/office/drawing/2014/main" id="{68669A6E-6DFB-44F5-8325-6033C01DD3E8}"/>
              </a:ext>
            </a:extLst>
          </p:cNvPr>
          <p:cNvSpPr txBox="1">
            <a:spLocks noChangeArrowheads="1"/>
          </p:cNvSpPr>
          <p:nvPr/>
        </p:nvSpPr>
        <p:spPr bwMode="auto">
          <a:xfrm>
            <a:off x="3050944" y="4451126"/>
            <a:ext cx="1359216"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err="1">
                <a:latin typeface="Arial" panose="020B0604020202020204" pitchFamily="34" charset="0"/>
                <a:ea typeface="Amazon Ember" panose="020B0603020204020204" pitchFamily="34" charset="0"/>
                <a:cs typeface="Arial" panose="020B0604020202020204" pitchFamily="34" charset="0"/>
              </a:rPr>
              <a:t>Carchiamo</a:t>
            </a:r>
            <a:r>
              <a:rPr lang="en-US" altLang="en-US" sz="1100" dirty="0">
                <a:latin typeface="Arial" panose="020B0604020202020204" pitchFamily="34" charset="0"/>
                <a:ea typeface="Amazon Ember" panose="020B0603020204020204" pitchFamily="34" charset="0"/>
                <a:cs typeface="Arial" panose="020B0604020202020204" pitchFamily="34" charset="0"/>
              </a:rPr>
              <a:t> la file dal </a:t>
            </a:r>
            <a:r>
              <a:rPr lang="en-US" altLang="en-US" sz="1100" dirty="0" err="1">
                <a:latin typeface="Arial" panose="020B0604020202020204" pitchFamily="34" charset="0"/>
                <a:ea typeface="Amazon Ember" panose="020B0603020204020204" pitchFamily="34" charset="0"/>
                <a:cs typeface="Arial" panose="020B0604020202020204" pitchFamily="34" charset="0"/>
              </a:rPr>
              <a:t>Cubbit</a:t>
            </a:r>
            <a:r>
              <a:rPr lang="en-US" altLang="en-US" sz="1100" dirty="0">
                <a:latin typeface="Arial" panose="020B0604020202020204" pitchFamily="34" charset="0"/>
                <a:ea typeface="Amazon Ember" panose="020B0603020204020204" pitchFamily="34" charset="0"/>
                <a:cs typeface="Arial" panose="020B0604020202020204" pitchFamily="34" charset="0"/>
              </a:rPr>
              <a:t> S3 </a:t>
            </a:r>
            <a:r>
              <a:rPr lang="en-US" altLang="en-US" sz="1100" dirty="0" err="1">
                <a:latin typeface="Arial" panose="020B0604020202020204" pitchFamily="34" charset="0"/>
                <a:ea typeface="Amazon Ember" panose="020B0603020204020204" pitchFamily="34" charset="0"/>
                <a:cs typeface="Arial" panose="020B0604020202020204" pitchFamily="34" charset="0"/>
              </a:rPr>
              <a:t>su</a:t>
            </a:r>
            <a:r>
              <a:rPr lang="en-US" altLang="en-US" sz="1100" dirty="0">
                <a:latin typeface="Arial" panose="020B0604020202020204" pitchFamily="34" charset="0"/>
                <a:ea typeface="Amazon Ember" panose="020B0603020204020204" pitchFamily="34" charset="0"/>
                <a:cs typeface="Arial" panose="020B0604020202020204" pitchFamily="34" charset="0"/>
              </a:rPr>
              <a:t> AWS S3</a:t>
            </a:r>
          </a:p>
        </p:txBody>
      </p:sp>
      <p:pic>
        <p:nvPicPr>
          <p:cNvPr id="26" name="Graphic 16">
            <a:extLst>
              <a:ext uri="{FF2B5EF4-FFF2-40B4-BE49-F238E27FC236}">
                <a16:creationId xmlns:a16="http://schemas.microsoft.com/office/drawing/2014/main" id="{278077FC-F67F-41F3-9BE1-5C58BF1755B9}"/>
              </a:ext>
            </a:extLst>
          </p:cNvPr>
          <p:cNvPicPr>
            <a:picLocks noChangeAspect="1" noChangeArrowheads="1"/>
          </p:cNvPicPr>
          <p:nvPr/>
        </p:nvPicPr>
        <p:blipFill>
          <a:blip r:embed="rId8">
            <a:extLst>
              <a:ext uri="{96DAC541-7B7A-43D3-8B79-37D633B846F1}">
                <asvg:svgBlip xmlns:asvg="http://schemas.microsoft.com/office/drawing/2016/SVG/main" r:embed="rId9"/>
              </a:ext>
            </a:extLst>
          </a:blip>
          <a:srcRect/>
          <a:stretch/>
        </p:blipFill>
        <p:spPr bwMode="auto">
          <a:xfrm>
            <a:off x="5721922" y="127853"/>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Graphic 8">
            <a:extLst>
              <a:ext uri="{FF2B5EF4-FFF2-40B4-BE49-F238E27FC236}">
                <a16:creationId xmlns:a16="http://schemas.microsoft.com/office/drawing/2014/main" id="{6EB8A6BC-1D2B-48CC-ADE0-6F13A046BE13}"/>
              </a:ext>
            </a:extLst>
          </p:cNvPr>
          <p:cNvPicPr>
            <a:picLocks noChangeAspect="1" noChangeArrowheads="1"/>
          </p:cNvPicPr>
          <p:nvPr/>
        </p:nvPicPr>
        <p:blipFill>
          <a:blip r:embed="rId5">
            <a:extLst>
              <a:ext uri="{96DAC541-7B7A-43D3-8B79-37D633B846F1}">
                <asvg:svgBlip xmlns:asvg="http://schemas.microsoft.com/office/drawing/2016/SVG/main" r:embed="rId6"/>
              </a:ext>
            </a:extLst>
          </a:blip>
          <a:srcRect/>
          <a:stretch/>
        </p:blipFill>
        <p:spPr bwMode="auto">
          <a:xfrm>
            <a:off x="5721922" y="4098410"/>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Graphic 16">
            <a:extLst>
              <a:ext uri="{FF2B5EF4-FFF2-40B4-BE49-F238E27FC236}">
                <a16:creationId xmlns:a16="http://schemas.microsoft.com/office/drawing/2014/main" id="{1DD9ED1A-4F85-4A97-9A78-6B7371C28F0E}"/>
              </a:ext>
            </a:extLst>
          </p:cNvPr>
          <p:cNvPicPr>
            <a:picLocks noChangeAspect="1" noChangeArrowheads="1"/>
          </p:cNvPicPr>
          <p:nvPr/>
        </p:nvPicPr>
        <p:blipFill>
          <a:blip r:embed="rId8">
            <a:extLst>
              <a:ext uri="{96DAC541-7B7A-43D3-8B79-37D633B846F1}">
                <asvg:svgBlip xmlns:asvg="http://schemas.microsoft.com/office/drawing/2016/SVG/main" r:embed="rId9"/>
              </a:ext>
            </a:extLst>
          </a:blip>
          <a:srcRect/>
          <a:stretch/>
        </p:blipFill>
        <p:spPr bwMode="auto">
          <a:xfrm>
            <a:off x="6803315" y="4098410"/>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1" name="Straight Arrow Connector 30">
            <a:extLst>
              <a:ext uri="{FF2B5EF4-FFF2-40B4-BE49-F238E27FC236}">
                <a16:creationId xmlns:a16="http://schemas.microsoft.com/office/drawing/2014/main" id="{1A3385AA-4BDB-4F2C-A718-1C4E544ACE51}"/>
              </a:ext>
            </a:extLst>
          </p:cNvPr>
          <p:cNvCxnSpPr>
            <a:cxnSpLocks/>
          </p:cNvCxnSpPr>
          <p:nvPr/>
        </p:nvCxnSpPr>
        <p:spPr>
          <a:xfrm>
            <a:off x="6316649" y="4295899"/>
            <a:ext cx="407850" cy="0"/>
          </a:xfrm>
          <a:prstGeom prst="straightConnector1">
            <a:avLst/>
          </a:prstGeom>
          <a:ln w="12700">
            <a:solidFill>
              <a:schemeClr val="tx2"/>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16F044A-CE1B-4111-A5F6-468DE8545957}"/>
              </a:ext>
            </a:extLst>
          </p:cNvPr>
          <p:cNvCxnSpPr>
            <a:cxnSpLocks/>
          </p:cNvCxnSpPr>
          <p:nvPr/>
        </p:nvCxnSpPr>
        <p:spPr>
          <a:xfrm flipV="1">
            <a:off x="5943179" y="4665378"/>
            <a:ext cx="0" cy="749770"/>
          </a:xfrm>
          <a:prstGeom prst="straightConnector1">
            <a:avLst/>
          </a:prstGeom>
          <a:ln w="12700">
            <a:solidFill>
              <a:schemeClr val="tx2"/>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22F4019-805C-401C-A1A7-2717771D8198}"/>
              </a:ext>
            </a:extLst>
          </p:cNvPr>
          <p:cNvCxnSpPr>
            <a:cxnSpLocks/>
          </p:cNvCxnSpPr>
          <p:nvPr/>
        </p:nvCxnSpPr>
        <p:spPr>
          <a:xfrm flipV="1">
            <a:off x="5943179" y="708916"/>
            <a:ext cx="0" cy="433269"/>
          </a:xfrm>
          <a:prstGeom prst="straightConnector1">
            <a:avLst/>
          </a:prstGeom>
          <a:ln w="12700">
            <a:solidFill>
              <a:schemeClr val="tx2"/>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EE149CD4-AC19-47A1-89EF-21B5BAC4329E}"/>
              </a:ext>
            </a:extLst>
          </p:cNvPr>
          <p:cNvCxnSpPr>
            <a:cxnSpLocks/>
          </p:cNvCxnSpPr>
          <p:nvPr/>
        </p:nvCxnSpPr>
        <p:spPr>
          <a:xfrm flipV="1">
            <a:off x="5943179" y="1838772"/>
            <a:ext cx="0" cy="433269"/>
          </a:xfrm>
          <a:prstGeom prst="straightConnector1">
            <a:avLst/>
          </a:prstGeom>
          <a:ln w="12700">
            <a:solidFill>
              <a:schemeClr val="tx2"/>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2714A9C-A838-47AC-9E53-9A5EB918043B}"/>
              </a:ext>
            </a:extLst>
          </p:cNvPr>
          <p:cNvSpPr txBox="1"/>
          <p:nvPr/>
        </p:nvSpPr>
        <p:spPr>
          <a:xfrm>
            <a:off x="7411038" y="2702928"/>
            <a:ext cx="609797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chemeClr val="dk1"/>
                </a:solidFill>
                <a:effectLst/>
                <a:latin typeface="+mn-lt"/>
                <a:ea typeface="+mn-ea"/>
                <a:cs typeface="+mn-cs"/>
              </a:rPr>
              <a:t>https://s3.cubbit.eu</a:t>
            </a:r>
          </a:p>
          <a:p>
            <a:endParaRPr lang="en-US" dirty="0"/>
          </a:p>
        </p:txBody>
      </p:sp>
      <p:sp>
        <p:nvSpPr>
          <p:cNvPr id="28" name="TextBox 27">
            <a:extLst>
              <a:ext uri="{FF2B5EF4-FFF2-40B4-BE49-F238E27FC236}">
                <a16:creationId xmlns:a16="http://schemas.microsoft.com/office/drawing/2014/main" id="{524AD486-DB2D-4351-A791-A288A249DF9D}"/>
              </a:ext>
            </a:extLst>
          </p:cNvPr>
          <p:cNvSpPr txBox="1"/>
          <p:nvPr/>
        </p:nvSpPr>
        <p:spPr>
          <a:xfrm>
            <a:off x="6554408" y="5873824"/>
            <a:ext cx="609797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rgbClr val="FF0000"/>
                </a:solidFill>
                <a:effectLst/>
                <a:latin typeface="+mn-lt"/>
                <a:ea typeface="+mn-ea"/>
                <a:cs typeface="+mn-cs"/>
              </a:rPr>
              <a:t>account-id</a:t>
            </a:r>
            <a:r>
              <a:rPr lang="en-US" sz="1800" b="0" i="0" kern="1200" dirty="0">
                <a:solidFill>
                  <a:schemeClr val="dk1"/>
                </a:solidFill>
                <a:effectLst/>
                <a:latin typeface="+mn-lt"/>
                <a:ea typeface="+mn-ea"/>
                <a:cs typeface="+mn-cs"/>
              </a:rPr>
              <a:t>.s3-control.eu-central-1.amazonaws.com</a:t>
            </a:r>
          </a:p>
        </p:txBody>
      </p:sp>
    </p:spTree>
    <p:extLst>
      <p:ext uri="{BB962C8B-B14F-4D97-AF65-F5344CB8AC3E}">
        <p14:creationId xmlns:p14="http://schemas.microsoft.com/office/powerpoint/2010/main" val="295119214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ED8155A2-6D3F-4376-8DF6-F125FE881DED}"/>
              </a:ext>
            </a:extLst>
          </p:cNvPr>
          <p:cNvGraphicFramePr/>
          <p:nvPr/>
        </p:nvGraphicFramePr>
        <p:xfrm>
          <a:off x="591787" y="130628"/>
          <a:ext cx="11008426" cy="43582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a:extLst>
              <a:ext uri="{FF2B5EF4-FFF2-40B4-BE49-F238E27FC236}">
                <a16:creationId xmlns:a16="http://schemas.microsoft.com/office/drawing/2014/main" id="{0327B7BE-C76D-4232-80C8-7C00D9365EB3}"/>
              </a:ext>
            </a:extLst>
          </p:cNvPr>
          <p:cNvSpPr txBox="1">
            <a:spLocks/>
          </p:cNvSpPr>
          <p:nvPr/>
        </p:nvSpPr>
        <p:spPr>
          <a:xfrm>
            <a:off x="501650" y="1016001"/>
            <a:ext cx="11188700" cy="698501"/>
          </a:xfrm>
          <a:prstGeom prst="rect">
            <a:avLst/>
          </a:prstGeom>
        </p:spPr>
        <p:txBody>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it-IT" dirty="0"/>
              <a:t>TRASFERIMENTO DEL’UN OGGETTO NEL BUCKET DAL AWS AL CUBBIT</a:t>
            </a:r>
            <a:endParaRPr lang="en-US" dirty="0"/>
          </a:p>
        </p:txBody>
      </p:sp>
      <p:sp>
        <p:nvSpPr>
          <p:cNvPr id="4" name="Title 2">
            <a:extLst>
              <a:ext uri="{FF2B5EF4-FFF2-40B4-BE49-F238E27FC236}">
                <a16:creationId xmlns:a16="http://schemas.microsoft.com/office/drawing/2014/main" id="{530AAA38-A764-4BB8-976D-787B7721CEA6}"/>
              </a:ext>
            </a:extLst>
          </p:cNvPr>
          <p:cNvSpPr txBox="1">
            <a:spLocks/>
          </p:cNvSpPr>
          <p:nvPr/>
        </p:nvSpPr>
        <p:spPr>
          <a:xfrm>
            <a:off x="501650" y="317500"/>
            <a:ext cx="11188700" cy="698501"/>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it-IT" dirty="0">
                <a:cs typeface="Calibri Light"/>
              </a:rPr>
              <a:t>IL WORKFLOW APPLICAZIONE </a:t>
            </a:r>
            <a:endParaRPr lang="en-US" dirty="0"/>
          </a:p>
        </p:txBody>
      </p:sp>
      <p:pic>
        <p:nvPicPr>
          <p:cNvPr id="6" name="Picture 5">
            <a:extLst>
              <a:ext uri="{FF2B5EF4-FFF2-40B4-BE49-F238E27FC236}">
                <a16:creationId xmlns:a16="http://schemas.microsoft.com/office/drawing/2014/main" id="{E7D76406-2751-4E84-A873-ED6CDFA591DD}"/>
              </a:ext>
            </a:extLst>
          </p:cNvPr>
          <p:cNvPicPr>
            <a:picLocks noChangeAspect="1"/>
          </p:cNvPicPr>
          <p:nvPr/>
        </p:nvPicPr>
        <p:blipFill>
          <a:blip r:embed="rId7"/>
          <a:stretch>
            <a:fillRect/>
          </a:stretch>
        </p:blipFill>
        <p:spPr>
          <a:xfrm>
            <a:off x="501650" y="3193949"/>
            <a:ext cx="8161087" cy="1949550"/>
          </a:xfrm>
          <a:prstGeom prst="rect">
            <a:avLst/>
          </a:prstGeom>
        </p:spPr>
      </p:pic>
      <p:pic>
        <p:nvPicPr>
          <p:cNvPr id="7" name="Picture 6" descr="A picture containing text, clipart&#10;&#10;Description automatically generated">
            <a:extLst>
              <a:ext uri="{FF2B5EF4-FFF2-40B4-BE49-F238E27FC236}">
                <a16:creationId xmlns:a16="http://schemas.microsoft.com/office/drawing/2014/main" id="{164D304F-FA29-4018-82BB-18A82AFB7E51}"/>
              </a:ext>
            </a:extLst>
          </p:cNvPr>
          <p:cNvPicPr>
            <a:picLocks noChangeAspect="1"/>
          </p:cNvPicPr>
          <p:nvPr/>
        </p:nvPicPr>
        <p:blipFill>
          <a:blip r:embed="rId8"/>
          <a:stretch>
            <a:fillRect/>
          </a:stretch>
        </p:blipFill>
        <p:spPr>
          <a:xfrm>
            <a:off x="9546762" y="3785809"/>
            <a:ext cx="2143588" cy="765829"/>
          </a:xfrm>
          <a:prstGeom prst="rect">
            <a:avLst/>
          </a:prstGeom>
        </p:spPr>
      </p:pic>
      <p:sp>
        <p:nvSpPr>
          <p:cNvPr id="8" name="Freeform 346">
            <a:extLst>
              <a:ext uri="{FF2B5EF4-FFF2-40B4-BE49-F238E27FC236}">
                <a16:creationId xmlns:a16="http://schemas.microsoft.com/office/drawing/2014/main" id="{A2123F5B-82F0-46F8-9E2D-09A381EE1204}"/>
              </a:ext>
            </a:extLst>
          </p:cNvPr>
          <p:cNvSpPr>
            <a:spLocks noChangeAspect="1" noEditPoints="1"/>
          </p:cNvSpPr>
          <p:nvPr/>
        </p:nvSpPr>
        <p:spPr bwMode="auto">
          <a:xfrm>
            <a:off x="8156359" y="3410959"/>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 name="Group 987">
            <a:extLst>
              <a:ext uri="{FF2B5EF4-FFF2-40B4-BE49-F238E27FC236}">
                <a16:creationId xmlns:a16="http://schemas.microsoft.com/office/drawing/2014/main" id="{EFFB8116-8092-487E-A7A9-B79741A47630}"/>
              </a:ext>
            </a:extLst>
          </p:cNvPr>
          <p:cNvGrpSpPr>
            <a:grpSpLocks noChangeAspect="1"/>
          </p:cNvGrpSpPr>
          <p:nvPr/>
        </p:nvGrpSpPr>
        <p:grpSpPr bwMode="auto">
          <a:xfrm>
            <a:off x="2409025" y="5013189"/>
            <a:ext cx="367041" cy="367041"/>
            <a:chOff x="2699" y="3996"/>
            <a:chExt cx="340" cy="340"/>
          </a:xfrm>
          <a:solidFill>
            <a:schemeClr val="accent5"/>
          </a:solidFill>
        </p:grpSpPr>
        <p:sp>
          <p:nvSpPr>
            <p:cNvPr id="16" name="Freeform 988">
              <a:extLst>
                <a:ext uri="{FF2B5EF4-FFF2-40B4-BE49-F238E27FC236}">
                  <a16:creationId xmlns:a16="http://schemas.microsoft.com/office/drawing/2014/main" id="{1BEEBEF4-6E59-4531-A0A2-41FA3B5D81EE}"/>
                </a:ext>
              </a:extLst>
            </p:cNvPr>
            <p:cNvSpPr>
              <a:spLocks noEditPoints="1"/>
            </p:cNvSpPr>
            <p:nvPr/>
          </p:nvSpPr>
          <p:spPr bwMode="auto">
            <a:xfrm>
              <a:off x="2762" y="4073"/>
              <a:ext cx="199" cy="199"/>
            </a:xfrm>
            <a:custGeom>
              <a:avLst/>
              <a:gdLst>
                <a:gd name="T0" fmla="*/ 150 w 300"/>
                <a:gd name="T1" fmla="*/ 300 h 300"/>
                <a:gd name="T2" fmla="*/ 149 w 300"/>
                <a:gd name="T3" fmla="*/ 300 h 300"/>
                <a:gd name="T4" fmla="*/ 140 w 300"/>
                <a:gd name="T5" fmla="*/ 293 h 300"/>
                <a:gd name="T6" fmla="*/ 105 w 300"/>
                <a:gd name="T7" fmla="*/ 196 h 300"/>
                <a:gd name="T8" fmla="*/ 8 w 300"/>
                <a:gd name="T9" fmla="*/ 160 h 300"/>
                <a:gd name="T10" fmla="*/ 1 w 300"/>
                <a:gd name="T11" fmla="*/ 151 h 300"/>
                <a:gd name="T12" fmla="*/ 7 w 300"/>
                <a:gd name="T13" fmla="*/ 141 h 300"/>
                <a:gd name="T14" fmla="*/ 284 w 300"/>
                <a:gd name="T15" fmla="*/ 2 h 300"/>
                <a:gd name="T16" fmla="*/ 296 w 300"/>
                <a:gd name="T17" fmla="*/ 4 h 300"/>
                <a:gd name="T18" fmla="*/ 298 w 300"/>
                <a:gd name="T19" fmla="*/ 16 h 300"/>
                <a:gd name="T20" fmla="*/ 160 w 300"/>
                <a:gd name="T21" fmla="*/ 294 h 300"/>
                <a:gd name="T22" fmla="*/ 150 w 300"/>
                <a:gd name="T23" fmla="*/ 300 h 300"/>
                <a:gd name="T24" fmla="*/ 38 w 300"/>
                <a:gd name="T25" fmla="*/ 149 h 300"/>
                <a:gd name="T26" fmla="*/ 117 w 300"/>
                <a:gd name="T27" fmla="*/ 178 h 300"/>
                <a:gd name="T28" fmla="*/ 123 w 300"/>
                <a:gd name="T29" fmla="*/ 184 h 300"/>
                <a:gd name="T30" fmla="*/ 152 w 300"/>
                <a:gd name="T31" fmla="*/ 262 h 300"/>
                <a:gd name="T32" fmla="*/ 265 w 300"/>
                <a:gd name="T33" fmla="*/ 36 h 300"/>
                <a:gd name="T34" fmla="*/ 38 w 300"/>
                <a:gd name="T35"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0" h="300">
                  <a:moveTo>
                    <a:pt x="150" y="300"/>
                  </a:moveTo>
                  <a:cubicBezTo>
                    <a:pt x="150" y="300"/>
                    <a:pt x="150" y="300"/>
                    <a:pt x="149" y="300"/>
                  </a:cubicBezTo>
                  <a:cubicBezTo>
                    <a:pt x="145" y="299"/>
                    <a:pt x="141" y="297"/>
                    <a:pt x="140" y="293"/>
                  </a:cubicBezTo>
                  <a:cubicBezTo>
                    <a:pt x="105" y="196"/>
                    <a:pt x="105" y="196"/>
                    <a:pt x="105" y="196"/>
                  </a:cubicBezTo>
                  <a:cubicBezTo>
                    <a:pt x="8" y="160"/>
                    <a:pt x="8" y="160"/>
                    <a:pt x="8" y="160"/>
                  </a:cubicBezTo>
                  <a:cubicBezTo>
                    <a:pt x="4" y="159"/>
                    <a:pt x="1" y="155"/>
                    <a:pt x="1" y="151"/>
                  </a:cubicBezTo>
                  <a:cubicBezTo>
                    <a:pt x="0" y="147"/>
                    <a:pt x="3" y="143"/>
                    <a:pt x="7" y="141"/>
                  </a:cubicBezTo>
                  <a:cubicBezTo>
                    <a:pt x="284" y="2"/>
                    <a:pt x="284" y="2"/>
                    <a:pt x="284" y="2"/>
                  </a:cubicBezTo>
                  <a:cubicBezTo>
                    <a:pt x="288" y="0"/>
                    <a:pt x="293" y="1"/>
                    <a:pt x="296" y="4"/>
                  </a:cubicBezTo>
                  <a:cubicBezTo>
                    <a:pt x="299" y="7"/>
                    <a:pt x="300" y="12"/>
                    <a:pt x="298" y="16"/>
                  </a:cubicBezTo>
                  <a:cubicBezTo>
                    <a:pt x="160" y="294"/>
                    <a:pt x="160" y="294"/>
                    <a:pt x="160" y="294"/>
                  </a:cubicBezTo>
                  <a:cubicBezTo>
                    <a:pt x="158" y="297"/>
                    <a:pt x="154" y="300"/>
                    <a:pt x="150" y="300"/>
                  </a:cubicBezTo>
                  <a:close/>
                  <a:moveTo>
                    <a:pt x="38" y="149"/>
                  </a:moveTo>
                  <a:cubicBezTo>
                    <a:pt x="117" y="178"/>
                    <a:pt x="117" y="178"/>
                    <a:pt x="117" y="178"/>
                  </a:cubicBezTo>
                  <a:cubicBezTo>
                    <a:pt x="120" y="179"/>
                    <a:pt x="122" y="181"/>
                    <a:pt x="123" y="184"/>
                  </a:cubicBezTo>
                  <a:cubicBezTo>
                    <a:pt x="152" y="262"/>
                    <a:pt x="152" y="262"/>
                    <a:pt x="152" y="262"/>
                  </a:cubicBezTo>
                  <a:cubicBezTo>
                    <a:pt x="265" y="36"/>
                    <a:pt x="265" y="36"/>
                    <a:pt x="265" y="36"/>
                  </a:cubicBezTo>
                  <a:lnTo>
                    <a:pt x="38" y="149"/>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989">
              <a:extLst>
                <a:ext uri="{FF2B5EF4-FFF2-40B4-BE49-F238E27FC236}">
                  <a16:creationId xmlns:a16="http://schemas.microsoft.com/office/drawing/2014/main" id="{48DFFC3D-0523-4F22-9904-D2CF9593ED17}"/>
                </a:ext>
              </a:extLst>
            </p:cNvPr>
            <p:cNvSpPr>
              <a:spLocks noEditPoints="1"/>
            </p:cNvSpPr>
            <p:nvPr/>
          </p:nvSpPr>
          <p:spPr bwMode="auto">
            <a:xfrm>
              <a:off x="2699" y="39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8" name="Freeform 36">
            <a:extLst>
              <a:ext uri="{FF2B5EF4-FFF2-40B4-BE49-F238E27FC236}">
                <a16:creationId xmlns:a16="http://schemas.microsoft.com/office/drawing/2014/main" id="{34CC8428-2978-4EEA-90A8-9AF1F3D848F3}"/>
              </a:ext>
            </a:extLst>
          </p:cNvPr>
          <p:cNvSpPr>
            <a:spLocks noChangeAspect="1" noEditPoints="1"/>
          </p:cNvSpPr>
          <p:nvPr/>
        </p:nvSpPr>
        <p:spPr bwMode="auto">
          <a:xfrm>
            <a:off x="756177" y="5013189"/>
            <a:ext cx="367631" cy="36763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 name="Freeform 611">
            <a:extLst>
              <a:ext uri="{FF2B5EF4-FFF2-40B4-BE49-F238E27FC236}">
                <a16:creationId xmlns:a16="http://schemas.microsoft.com/office/drawing/2014/main" id="{FBDFED88-83A9-490D-923D-6C77C7211B23}"/>
              </a:ext>
            </a:extLst>
          </p:cNvPr>
          <p:cNvSpPr>
            <a:spLocks noChangeAspect="1" noEditPoints="1"/>
          </p:cNvSpPr>
          <p:nvPr/>
        </p:nvSpPr>
        <p:spPr bwMode="auto">
          <a:xfrm>
            <a:off x="1593011" y="5022761"/>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 name="TextBox 25">
            <a:extLst>
              <a:ext uri="{FF2B5EF4-FFF2-40B4-BE49-F238E27FC236}">
                <a16:creationId xmlns:a16="http://schemas.microsoft.com/office/drawing/2014/main" id="{9B8CED67-AA72-40C7-B566-6C81D0086BD8}"/>
              </a:ext>
            </a:extLst>
          </p:cNvPr>
          <p:cNvSpPr txBox="1">
            <a:spLocks noChangeArrowheads="1"/>
          </p:cNvSpPr>
          <p:nvPr/>
        </p:nvSpPr>
        <p:spPr bwMode="auto">
          <a:xfrm>
            <a:off x="260384" y="5423220"/>
            <a:ext cx="135921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en-US" sz="1100" dirty="0">
                <a:latin typeface="Arial" panose="020B0604020202020204" pitchFamily="34" charset="0"/>
                <a:ea typeface="Amazon Ember" panose="020B0603020204020204" pitchFamily="34" charset="0"/>
                <a:cs typeface="Arial" panose="020B0604020202020204" pitchFamily="34" charset="0"/>
              </a:rPr>
              <a:t>S</a:t>
            </a:r>
            <a:r>
              <a:rPr lang="en-US" altLang="en-US" sz="1100" dirty="0" err="1">
                <a:latin typeface="Arial" panose="020B0604020202020204" pitchFamily="34" charset="0"/>
                <a:ea typeface="Amazon Ember" panose="020B0603020204020204" pitchFamily="34" charset="0"/>
                <a:cs typeface="Arial" panose="020B0604020202020204" pitchFamily="34" charset="0"/>
              </a:rPr>
              <a:t>crivi</a:t>
            </a:r>
            <a:r>
              <a:rPr lang="en-US" altLang="en-US" sz="1100" dirty="0">
                <a:latin typeface="Arial" panose="020B0604020202020204" pitchFamily="34" charset="0"/>
                <a:ea typeface="Amazon Ember" panose="020B0603020204020204" pitchFamily="34" charset="0"/>
                <a:cs typeface="Arial" panose="020B0604020202020204" pitchFamily="34" charset="0"/>
              </a:rPr>
              <a:t> </a:t>
            </a:r>
            <a:r>
              <a:rPr lang="en-US" altLang="en-US" sz="1100" dirty="0" err="1">
                <a:latin typeface="Arial" panose="020B0604020202020204" pitchFamily="34" charset="0"/>
                <a:ea typeface="Amazon Ember" panose="020B0603020204020204" pitchFamily="34" charset="0"/>
                <a:cs typeface="Arial" panose="020B0604020202020204" pitchFamily="34" charset="0"/>
              </a:rPr>
              <a:t>nome</a:t>
            </a:r>
            <a:r>
              <a:rPr lang="en-US" altLang="en-US" sz="1100" dirty="0">
                <a:latin typeface="Arial" panose="020B0604020202020204" pitchFamily="34" charset="0"/>
                <a:ea typeface="Amazon Ember" panose="020B0603020204020204" pitchFamily="34" charset="0"/>
                <a:cs typeface="Arial" panose="020B0604020202020204" pitchFamily="34" charset="0"/>
              </a:rPr>
              <a:t> </a:t>
            </a:r>
          </a:p>
          <a:p>
            <a:pPr algn="ctr" eaLnBrk="1" hangingPunct="1"/>
            <a:r>
              <a:rPr lang="en-US" altLang="en-US" sz="1100" dirty="0" err="1">
                <a:latin typeface="Arial" panose="020B0604020202020204" pitchFamily="34" charset="0"/>
                <a:ea typeface="Amazon Ember" panose="020B0603020204020204" pitchFamily="34" charset="0"/>
                <a:cs typeface="Arial" panose="020B0604020202020204" pitchFamily="34" charset="0"/>
              </a:rPr>
              <a:t>della</a:t>
            </a:r>
            <a:r>
              <a:rPr lang="en-US" altLang="en-US" sz="1100" dirty="0">
                <a:latin typeface="Arial" panose="020B0604020202020204" pitchFamily="34" charset="0"/>
                <a:ea typeface="Amazon Ember" panose="020B0603020204020204" pitchFamily="34" charset="0"/>
                <a:cs typeface="Arial" panose="020B0604020202020204" pitchFamily="34" charset="0"/>
              </a:rPr>
              <a:t> file</a:t>
            </a:r>
          </a:p>
        </p:txBody>
      </p:sp>
      <p:sp>
        <p:nvSpPr>
          <p:cNvPr id="21" name="TextBox 25">
            <a:extLst>
              <a:ext uri="{FF2B5EF4-FFF2-40B4-BE49-F238E27FC236}">
                <a16:creationId xmlns:a16="http://schemas.microsoft.com/office/drawing/2014/main" id="{8ACA1DBF-7F3C-4D4A-956C-5CC5AB3847F9}"/>
              </a:ext>
            </a:extLst>
          </p:cNvPr>
          <p:cNvSpPr txBox="1">
            <a:spLocks noChangeArrowheads="1"/>
          </p:cNvSpPr>
          <p:nvPr/>
        </p:nvSpPr>
        <p:spPr bwMode="auto">
          <a:xfrm>
            <a:off x="1032272" y="5435859"/>
            <a:ext cx="135921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en-US" sz="1100" dirty="0">
                <a:latin typeface="Arial" panose="020B0604020202020204" pitchFamily="34" charset="0"/>
                <a:ea typeface="Amazon Ember" panose="020B0603020204020204" pitchFamily="34" charset="0"/>
                <a:cs typeface="Arial" panose="020B0604020202020204" pitchFamily="34" charset="0"/>
              </a:rPr>
              <a:t>V</a:t>
            </a:r>
            <a:r>
              <a:rPr lang="en-US" altLang="en-US" sz="1100" dirty="0" err="1">
                <a:latin typeface="Arial" panose="020B0604020202020204" pitchFamily="34" charset="0"/>
                <a:ea typeface="Amazon Ember" panose="020B0603020204020204" pitchFamily="34" charset="0"/>
                <a:cs typeface="Arial" panose="020B0604020202020204" pitchFamily="34" charset="0"/>
              </a:rPr>
              <a:t>edi</a:t>
            </a:r>
            <a:r>
              <a:rPr lang="en-US" altLang="en-US" sz="1100" dirty="0">
                <a:latin typeface="Arial" panose="020B0604020202020204" pitchFamily="34" charset="0"/>
                <a:ea typeface="Amazon Ember" panose="020B0603020204020204" pitchFamily="34" charset="0"/>
                <a:cs typeface="Arial" panose="020B0604020202020204" pitchFamily="34" charset="0"/>
              </a:rPr>
              <a:t> </a:t>
            </a:r>
            <a:r>
              <a:rPr lang="en-US" altLang="en-US" sz="1100" dirty="0" err="1">
                <a:latin typeface="Arial" panose="020B0604020202020204" pitchFamily="34" charset="0"/>
                <a:ea typeface="Amazon Ember" panose="020B0603020204020204" pitchFamily="34" charset="0"/>
                <a:cs typeface="Arial" panose="020B0604020202020204" pitchFamily="34" charset="0"/>
              </a:rPr>
              <a:t>liste</a:t>
            </a:r>
            <a:endParaRPr lang="en-US" altLang="en-US" sz="1100" dirty="0">
              <a:latin typeface="Arial" panose="020B0604020202020204" pitchFamily="34" charset="0"/>
              <a:ea typeface="Amazon Ember" panose="020B0603020204020204" pitchFamily="34" charset="0"/>
              <a:cs typeface="Arial" panose="020B0604020202020204" pitchFamily="34" charset="0"/>
            </a:endParaRPr>
          </a:p>
          <a:p>
            <a:pPr algn="ctr" eaLnBrk="1" hangingPunct="1"/>
            <a:r>
              <a:rPr lang="en-US" altLang="en-US" sz="1100" dirty="0" err="1">
                <a:latin typeface="Arial" panose="020B0604020202020204" pitchFamily="34" charset="0"/>
                <a:ea typeface="Amazon Ember" panose="020B0603020204020204" pitchFamily="34" charset="0"/>
                <a:cs typeface="Arial" panose="020B0604020202020204" pitchFamily="34" charset="0"/>
              </a:rPr>
              <a:t>delle</a:t>
            </a:r>
            <a:r>
              <a:rPr lang="en-US" altLang="en-US" sz="1100" dirty="0">
                <a:latin typeface="Arial" panose="020B0604020202020204" pitchFamily="34" charset="0"/>
                <a:ea typeface="Amazon Ember" panose="020B0603020204020204" pitchFamily="34" charset="0"/>
                <a:cs typeface="Arial" panose="020B0604020202020204" pitchFamily="34" charset="0"/>
              </a:rPr>
              <a:t> file</a:t>
            </a:r>
          </a:p>
        </p:txBody>
      </p:sp>
      <p:sp>
        <p:nvSpPr>
          <p:cNvPr id="22" name="TextBox 25">
            <a:extLst>
              <a:ext uri="{FF2B5EF4-FFF2-40B4-BE49-F238E27FC236}">
                <a16:creationId xmlns:a16="http://schemas.microsoft.com/office/drawing/2014/main" id="{E5BD6054-5B17-4B72-B83A-4F85416E8110}"/>
              </a:ext>
            </a:extLst>
          </p:cNvPr>
          <p:cNvSpPr txBox="1">
            <a:spLocks noChangeArrowheads="1"/>
          </p:cNvSpPr>
          <p:nvPr/>
        </p:nvSpPr>
        <p:spPr bwMode="auto">
          <a:xfrm>
            <a:off x="817861" y="6037258"/>
            <a:ext cx="135921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en-US" sz="1100" dirty="0">
                <a:latin typeface="Arial" panose="020B0604020202020204" pitchFamily="34" charset="0"/>
                <a:ea typeface="Amazon Ember" panose="020B0603020204020204" pitchFamily="34" charset="0"/>
                <a:cs typeface="Arial" panose="020B0604020202020204" pitchFamily="34" charset="0"/>
              </a:rPr>
              <a:t>SEND</a:t>
            </a:r>
            <a:endParaRPr lang="en-US" altLang="en-US" sz="1100" dirty="0">
              <a:latin typeface="Arial" panose="020B0604020202020204" pitchFamily="34" charset="0"/>
              <a:ea typeface="Amazon Ember" panose="020B0603020204020204" pitchFamily="34" charset="0"/>
              <a:cs typeface="Arial" panose="020B0604020202020204" pitchFamily="34" charset="0"/>
            </a:endParaRPr>
          </a:p>
        </p:txBody>
      </p:sp>
      <p:grpSp>
        <p:nvGrpSpPr>
          <p:cNvPr id="23" name="Group 592">
            <a:extLst>
              <a:ext uri="{FF2B5EF4-FFF2-40B4-BE49-F238E27FC236}">
                <a16:creationId xmlns:a16="http://schemas.microsoft.com/office/drawing/2014/main" id="{3EF79032-7560-4E2E-8611-4540880BE1B5}"/>
              </a:ext>
            </a:extLst>
          </p:cNvPr>
          <p:cNvGrpSpPr>
            <a:grpSpLocks noChangeAspect="1"/>
          </p:cNvGrpSpPr>
          <p:nvPr/>
        </p:nvGrpSpPr>
        <p:grpSpPr bwMode="auto">
          <a:xfrm>
            <a:off x="1960052" y="5968320"/>
            <a:ext cx="370763" cy="369676"/>
            <a:chOff x="373" y="1933"/>
            <a:chExt cx="341" cy="340"/>
          </a:xfrm>
          <a:solidFill>
            <a:schemeClr val="accent6"/>
          </a:solidFill>
        </p:grpSpPr>
        <p:sp>
          <p:nvSpPr>
            <p:cNvPr id="24" name="Freeform 693">
              <a:extLst>
                <a:ext uri="{FF2B5EF4-FFF2-40B4-BE49-F238E27FC236}">
                  <a16:creationId xmlns:a16="http://schemas.microsoft.com/office/drawing/2014/main" id="{A0C16AA8-C828-4C2B-8F18-0E793D9D2C0A}"/>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694">
              <a:extLst>
                <a:ext uri="{FF2B5EF4-FFF2-40B4-BE49-F238E27FC236}">
                  <a16:creationId xmlns:a16="http://schemas.microsoft.com/office/drawing/2014/main" id="{602542ED-1FEC-4203-BEF8-6BAE54799036}"/>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26" name="Straight Arrow Connector 25">
            <a:extLst>
              <a:ext uri="{FF2B5EF4-FFF2-40B4-BE49-F238E27FC236}">
                <a16:creationId xmlns:a16="http://schemas.microsoft.com/office/drawing/2014/main" id="{BBB41BA9-54C9-4FC4-898D-AD3690805ABB}"/>
              </a:ext>
            </a:extLst>
          </p:cNvPr>
          <p:cNvCxnSpPr>
            <a:cxnSpLocks/>
          </p:cNvCxnSpPr>
          <p:nvPr/>
        </p:nvCxnSpPr>
        <p:spPr>
          <a:xfrm>
            <a:off x="8795186" y="4094345"/>
            <a:ext cx="751576"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29" name="TextBox 25">
            <a:extLst>
              <a:ext uri="{FF2B5EF4-FFF2-40B4-BE49-F238E27FC236}">
                <a16:creationId xmlns:a16="http://schemas.microsoft.com/office/drawing/2014/main" id="{49BAEFBE-0E5F-4EA4-9D22-8057660E4000}"/>
              </a:ext>
            </a:extLst>
          </p:cNvPr>
          <p:cNvSpPr txBox="1">
            <a:spLocks noChangeArrowheads="1"/>
          </p:cNvSpPr>
          <p:nvPr/>
        </p:nvSpPr>
        <p:spPr bwMode="auto">
          <a:xfrm>
            <a:off x="8523990" y="4204571"/>
            <a:ext cx="135921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en-US" sz="1100" dirty="0">
                <a:latin typeface="Arial" panose="020B0604020202020204" pitchFamily="34" charset="0"/>
                <a:ea typeface="Amazon Ember" panose="020B0603020204020204" pitchFamily="34" charset="0"/>
                <a:cs typeface="Arial" panose="020B0604020202020204" pitchFamily="34" charset="0"/>
              </a:rPr>
              <a:t>Copia la file </a:t>
            </a:r>
          </a:p>
          <a:p>
            <a:pPr algn="ctr" eaLnBrk="1" hangingPunct="1"/>
            <a:r>
              <a:rPr lang="it-IT" altLang="en-US" sz="1100" dirty="0">
                <a:latin typeface="Arial" panose="020B0604020202020204" pitchFamily="34" charset="0"/>
                <a:ea typeface="Amazon Ember" panose="020B0603020204020204" pitchFamily="34" charset="0"/>
                <a:cs typeface="Arial" panose="020B0604020202020204" pitchFamily="34" charset="0"/>
              </a:rPr>
              <a:t>su </a:t>
            </a:r>
            <a:r>
              <a:rPr lang="it-IT" altLang="en-US" sz="1100" dirty="0" err="1">
                <a:latin typeface="Arial" panose="020B0604020202020204" pitchFamily="34" charset="0"/>
                <a:ea typeface="Amazon Ember" panose="020B0603020204020204" pitchFamily="34" charset="0"/>
                <a:cs typeface="Arial" panose="020B0604020202020204" pitchFamily="34" charset="0"/>
              </a:rPr>
              <a:t>Cubbit</a:t>
            </a:r>
            <a:endParaRPr lang="en-US" altLang="en-US" sz="1100" dirty="0">
              <a:latin typeface="Arial" panose="020B0604020202020204" pitchFamily="34" charset="0"/>
              <a:ea typeface="Amazon Ember" panose="020B0603020204020204" pitchFamily="34" charset="0"/>
              <a:cs typeface="Arial" panose="020B0604020202020204" pitchFamily="34" charset="0"/>
            </a:endParaRPr>
          </a:p>
        </p:txBody>
      </p:sp>
      <p:sp>
        <p:nvSpPr>
          <p:cNvPr id="30" name="TextBox 25">
            <a:extLst>
              <a:ext uri="{FF2B5EF4-FFF2-40B4-BE49-F238E27FC236}">
                <a16:creationId xmlns:a16="http://schemas.microsoft.com/office/drawing/2014/main" id="{64884A72-3169-48FB-B34D-399F79D5F659}"/>
              </a:ext>
            </a:extLst>
          </p:cNvPr>
          <p:cNvSpPr txBox="1">
            <a:spLocks noChangeArrowheads="1"/>
          </p:cNvSpPr>
          <p:nvPr/>
        </p:nvSpPr>
        <p:spPr bwMode="auto">
          <a:xfrm>
            <a:off x="1960052" y="5452371"/>
            <a:ext cx="135921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en-US" sz="1100" dirty="0">
                <a:latin typeface="Arial" panose="020B0604020202020204" pitchFamily="34" charset="0"/>
                <a:ea typeface="Amazon Ember" panose="020B0603020204020204" pitchFamily="34" charset="0"/>
                <a:cs typeface="Arial" panose="020B0604020202020204" pitchFamily="34" charset="0"/>
              </a:rPr>
              <a:t>P</a:t>
            </a:r>
            <a:r>
              <a:rPr lang="en-US" altLang="en-US" sz="1100" dirty="0" err="1">
                <a:latin typeface="Arial" panose="020B0604020202020204" pitchFamily="34" charset="0"/>
                <a:ea typeface="Amazon Ember" panose="020B0603020204020204" pitchFamily="34" charset="0"/>
                <a:cs typeface="Arial" panose="020B0604020202020204" pitchFamily="34" charset="0"/>
              </a:rPr>
              <a:t>remi</a:t>
            </a:r>
            <a:r>
              <a:rPr lang="en-US" altLang="en-US" sz="1100" dirty="0">
                <a:latin typeface="Arial" panose="020B0604020202020204" pitchFamily="34" charset="0"/>
                <a:ea typeface="Amazon Ember" panose="020B0603020204020204" pitchFamily="34" charset="0"/>
                <a:cs typeface="Arial" panose="020B0604020202020204" pitchFamily="34" charset="0"/>
              </a:rPr>
              <a:t> </a:t>
            </a:r>
            <a:r>
              <a:rPr lang="en-US" altLang="en-US" sz="1100" dirty="0" err="1">
                <a:latin typeface="Arial" panose="020B0604020202020204" pitchFamily="34" charset="0"/>
                <a:ea typeface="Amazon Ember" panose="020B0603020204020204" pitchFamily="34" charset="0"/>
                <a:cs typeface="Arial" panose="020B0604020202020204" pitchFamily="34" charset="0"/>
              </a:rPr>
              <a:t>sulla</a:t>
            </a:r>
            <a:r>
              <a:rPr lang="en-US" altLang="en-US" sz="1100" dirty="0">
                <a:latin typeface="Arial" panose="020B0604020202020204" pitchFamily="34" charset="0"/>
                <a:ea typeface="Amazon Ember" panose="020B0603020204020204" pitchFamily="34" charset="0"/>
                <a:cs typeface="Arial" panose="020B0604020202020204" pitchFamily="34" charset="0"/>
              </a:rPr>
              <a:t> file</a:t>
            </a:r>
          </a:p>
          <a:p>
            <a:pPr algn="ctr" eaLnBrk="1" hangingPunct="1"/>
            <a:r>
              <a:rPr lang="en-US" altLang="en-US" sz="1100" dirty="0">
                <a:latin typeface="Arial" panose="020B0604020202020204" pitchFamily="34" charset="0"/>
                <a:ea typeface="Amazon Ember" panose="020B0603020204020204" pitchFamily="34" charset="0"/>
                <a:cs typeface="Arial" panose="020B0604020202020204" pitchFamily="34" charset="0"/>
              </a:rPr>
              <a:t> e </a:t>
            </a:r>
            <a:r>
              <a:rPr lang="en-US" altLang="en-US" sz="1100" dirty="0" err="1">
                <a:latin typeface="Arial" panose="020B0604020202020204" pitchFamily="34" charset="0"/>
                <a:ea typeface="Amazon Ember" panose="020B0603020204020204" pitchFamily="34" charset="0"/>
                <a:cs typeface="Arial" panose="020B0604020202020204" pitchFamily="34" charset="0"/>
              </a:rPr>
              <a:t>scegli</a:t>
            </a:r>
            <a:endParaRPr lang="en-US" altLang="en-US" sz="1100" dirty="0">
              <a:latin typeface="Arial" panose="020B0604020202020204" pitchFamily="34" charset="0"/>
              <a:ea typeface="Amazon Ember" panose="020B0603020204020204" pitchFamily="34" charset="0"/>
              <a:cs typeface="Arial" panose="020B0604020202020204" pitchFamily="34" charset="0"/>
            </a:endParaRPr>
          </a:p>
        </p:txBody>
      </p:sp>
    </p:spTree>
    <p:extLst>
      <p:ext uri="{BB962C8B-B14F-4D97-AF65-F5344CB8AC3E}">
        <p14:creationId xmlns:p14="http://schemas.microsoft.com/office/powerpoint/2010/main" val="395368118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81A3A3-8897-4A1D-AC2F-8450B2134016}"/>
              </a:ext>
            </a:extLst>
          </p:cNvPr>
          <p:cNvSpPr>
            <a:spLocks noGrp="1"/>
          </p:cNvSpPr>
          <p:nvPr>
            <p:ph type="title"/>
          </p:nvPr>
        </p:nvSpPr>
        <p:spPr/>
        <p:txBody>
          <a:bodyPr/>
          <a:lstStyle/>
          <a:p>
            <a:r>
              <a:rPr lang="it-IT" dirty="0"/>
              <a:t>L’ARCHITETTURA DELL’APPLICAZIONE SU SOFTWARE</a:t>
            </a:r>
            <a:endParaRPr lang="en-US" dirty="0"/>
          </a:p>
        </p:txBody>
      </p:sp>
      <p:sp>
        <p:nvSpPr>
          <p:cNvPr id="6" name="Freeform 624">
            <a:extLst>
              <a:ext uri="{FF2B5EF4-FFF2-40B4-BE49-F238E27FC236}">
                <a16:creationId xmlns:a16="http://schemas.microsoft.com/office/drawing/2014/main" id="{B0465185-CB5E-4D3D-B0A8-6F8BA159F4AA}"/>
              </a:ext>
            </a:extLst>
          </p:cNvPr>
          <p:cNvSpPr>
            <a:spLocks noChangeAspect="1" noEditPoints="1"/>
          </p:cNvSpPr>
          <p:nvPr/>
        </p:nvSpPr>
        <p:spPr bwMode="auto">
          <a:xfrm>
            <a:off x="501650" y="2844613"/>
            <a:ext cx="584387" cy="584387"/>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solidFill>
          <a:ln>
            <a:noFill/>
          </a:ln>
        </p:spPr>
        <p:txBody>
          <a:bodyPr vert="horz" wrap="square" lIns="121446" tIns="60723" rIns="121446" bIns="60723" numCol="1" anchor="t" anchorCtr="0" compatLnSpc="1">
            <a:prstTxWarp prst="textNoShape">
              <a:avLst/>
            </a:prstTxWarp>
          </a:bodyPr>
          <a:lstStyle/>
          <a:p>
            <a:endParaRPr lang="en-GB" sz="319"/>
          </a:p>
        </p:txBody>
      </p:sp>
      <p:sp>
        <p:nvSpPr>
          <p:cNvPr id="7" name="TextBox 25">
            <a:extLst>
              <a:ext uri="{FF2B5EF4-FFF2-40B4-BE49-F238E27FC236}">
                <a16:creationId xmlns:a16="http://schemas.microsoft.com/office/drawing/2014/main" id="{C179F05D-7194-41C0-8B9E-6B1BB19ACC0A}"/>
              </a:ext>
            </a:extLst>
          </p:cNvPr>
          <p:cNvSpPr txBox="1">
            <a:spLocks noChangeArrowheads="1"/>
          </p:cNvSpPr>
          <p:nvPr/>
        </p:nvSpPr>
        <p:spPr bwMode="auto">
          <a:xfrm>
            <a:off x="114235" y="3429000"/>
            <a:ext cx="135921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Arial" panose="020B0604020202020204" pitchFamily="34" charset="0"/>
                <a:ea typeface="Amazon Ember" panose="020B0603020204020204" pitchFamily="34" charset="0"/>
                <a:cs typeface="Arial" panose="020B0604020202020204" pitchFamily="34" charset="0"/>
              </a:rPr>
              <a:t>Application</a:t>
            </a:r>
          </a:p>
        </p:txBody>
      </p:sp>
      <p:sp>
        <p:nvSpPr>
          <p:cNvPr id="8" name="Rectangle 7">
            <a:extLst>
              <a:ext uri="{FF2B5EF4-FFF2-40B4-BE49-F238E27FC236}">
                <a16:creationId xmlns:a16="http://schemas.microsoft.com/office/drawing/2014/main" id="{39084628-89B7-449C-9E8D-3F9086DE5C4D}"/>
              </a:ext>
            </a:extLst>
          </p:cNvPr>
          <p:cNvSpPr/>
          <p:nvPr/>
        </p:nvSpPr>
        <p:spPr>
          <a:xfrm>
            <a:off x="1615044" y="1016001"/>
            <a:ext cx="10236530" cy="4699001"/>
          </a:xfrm>
          <a:prstGeom prst="rect">
            <a:avLst/>
          </a:prstGeom>
          <a:noFill/>
          <a:ln w="12700">
            <a:solidFill>
              <a:srgbClr val="5A6B86"/>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a:lstStyle/>
          <a:p>
            <a:pPr algn="ctr" eaLnBrk="1" fontAlgn="auto" hangingPunct="1">
              <a:spcBef>
                <a:spcPts val="0"/>
              </a:spcBef>
              <a:spcAft>
                <a:spcPts val="0"/>
              </a:spcAft>
              <a:defRPr/>
            </a:pPr>
            <a:r>
              <a:rPr lang="en-US" sz="1200" dirty="0">
                <a:solidFill>
                  <a:srgbClr val="5A6B86"/>
                </a:solidFill>
                <a:latin typeface="Arial" panose="020B0604020202020204" pitchFamily="34" charset="0"/>
                <a:cs typeface="Arial" panose="020B0604020202020204" pitchFamily="34" charset="0"/>
              </a:rPr>
              <a:t>Logica </a:t>
            </a:r>
            <a:r>
              <a:rPr lang="en-US" sz="1200" dirty="0" err="1">
                <a:solidFill>
                  <a:srgbClr val="5A6B86"/>
                </a:solidFill>
                <a:latin typeface="Arial" panose="020B0604020202020204" pitchFamily="34" charset="0"/>
                <a:cs typeface="Arial" panose="020B0604020202020204" pitchFamily="34" charset="0"/>
              </a:rPr>
              <a:t>dell’Applicazione</a:t>
            </a:r>
            <a:endParaRPr lang="en-US" sz="1200" dirty="0">
              <a:solidFill>
                <a:srgbClr val="5A6B86"/>
              </a:solidFill>
              <a:latin typeface="Arial" panose="020B0604020202020204" pitchFamily="34" charset="0"/>
              <a:cs typeface="Arial" panose="020B0604020202020204" pitchFamily="34" charset="0"/>
            </a:endParaRPr>
          </a:p>
        </p:txBody>
      </p:sp>
      <p:pic>
        <p:nvPicPr>
          <p:cNvPr id="9" name="Graphic 24">
            <a:extLst>
              <a:ext uri="{FF2B5EF4-FFF2-40B4-BE49-F238E27FC236}">
                <a16:creationId xmlns:a16="http://schemas.microsoft.com/office/drawing/2014/main" id="{C4F57112-5069-4CDC-94A9-ACD418338D2F}"/>
              </a:ext>
            </a:extLst>
          </p:cNvPr>
          <p:cNvPicPr>
            <a:picLocks noChangeAspect="1" noChangeArrowheads="1"/>
          </p:cNvPicPr>
          <p:nvPr/>
        </p:nvPicPr>
        <p:blipFill>
          <a:blip r:embed="rId2">
            <a:extLst>
              <a:ext uri="{96DAC541-7B7A-43D3-8B79-37D633B846F1}">
                <asvg:svgBlip xmlns:asvg="http://schemas.microsoft.com/office/drawing/2016/SVG/main" r:embed="rId3"/>
              </a:ext>
            </a:extLst>
          </a:blip>
          <a:srcRect/>
          <a:stretch/>
        </p:blipFill>
        <p:spPr bwMode="auto">
          <a:xfrm>
            <a:off x="2351895" y="2959100"/>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25">
            <a:extLst>
              <a:ext uri="{FF2B5EF4-FFF2-40B4-BE49-F238E27FC236}">
                <a16:creationId xmlns:a16="http://schemas.microsoft.com/office/drawing/2014/main" id="{4831E074-992E-41DD-B9CD-347012527A34}"/>
              </a:ext>
            </a:extLst>
          </p:cNvPr>
          <p:cNvSpPr txBox="1">
            <a:spLocks noChangeArrowheads="1"/>
          </p:cNvSpPr>
          <p:nvPr/>
        </p:nvSpPr>
        <p:spPr bwMode="auto">
          <a:xfrm>
            <a:off x="2050270" y="3429000"/>
            <a:ext cx="10731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solidFill>
                  <a:srgbClr val="000000"/>
                </a:solidFill>
                <a:latin typeface="Arial" panose="020B0604020202020204" pitchFamily="34" charset="0"/>
                <a:cs typeface="Arial" panose="020B0604020202020204" pitchFamily="34" charset="0"/>
              </a:rPr>
              <a:t>Source code</a:t>
            </a:r>
          </a:p>
        </p:txBody>
      </p:sp>
      <p:cxnSp>
        <p:nvCxnSpPr>
          <p:cNvPr id="12" name="Straight Arrow Connector 11">
            <a:extLst>
              <a:ext uri="{FF2B5EF4-FFF2-40B4-BE49-F238E27FC236}">
                <a16:creationId xmlns:a16="http://schemas.microsoft.com/office/drawing/2014/main" id="{B9DC99F2-AF92-48C1-897B-4E41714FE214}"/>
              </a:ext>
            </a:extLst>
          </p:cNvPr>
          <p:cNvCxnSpPr/>
          <p:nvPr/>
        </p:nvCxnSpPr>
        <p:spPr>
          <a:xfrm>
            <a:off x="3262568" y="3234680"/>
            <a:ext cx="524423"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pic>
        <p:nvPicPr>
          <p:cNvPr id="15" name="Graphic 43">
            <a:extLst>
              <a:ext uri="{FF2B5EF4-FFF2-40B4-BE49-F238E27FC236}">
                <a16:creationId xmlns:a16="http://schemas.microsoft.com/office/drawing/2014/main" id="{8F52663F-1F51-4707-A3A4-30658C6B28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76371" y="2954482"/>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42">
            <a:extLst>
              <a:ext uri="{FF2B5EF4-FFF2-40B4-BE49-F238E27FC236}">
                <a16:creationId xmlns:a16="http://schemas.microsoft.com/office/drawing/2014/main" id="{711BBBDD-8087-4F1E-AC53-54CEE3E42053}"/>
              </a:ext>
            </a:extLst>
          </p:cNvPr>
          <p:cNvSpPr txBox="1">
            <a:spLocks noChangeArrowheads="1"/>
          </p:cNvSpPr>
          <p:nvPr/>
        </p:nvSpPr>
        <p:spPr bwMode="auto">
          <a:xfrm>
            <a:off x="3874746" y="3501867"/>
            <a:ext cx="10731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solidFill>
                  <a:srgbClr val="000000"/>
                </a:solidFill>
                <a:latin typeface="Arial" panose="020B0604020202020204" pitchFamily="34" charset="0"/>
                <a:cs typeface="Arial" panose="020B0604020202020204" pitchFamily="34" charset="0"/>
              </a:rPr>
              <a:t>SDK</a:t>
            </a:r>
          </a:p>
        </p:txBody>
      </p:sp>
      <p:pic>
        <p:nvPicPr>
          <p:cNvPr id="17" name="Graphic 23">
            <a:extLst>
              <a:ext uri="{FF2B5EF4-FFF2-40B4-BE49-F238E27FC236}">
                <a16:creationId xmlns:a16="http://schemas.microsoft.com/office/drawing/2014/main" id="{4834B808-5465-4042-8D9C-74769AB027B5}"/>
              </a:ext>
            </a:extLst>
          </p:cNvPr>
          <p:cNvPicPr>
            <a:picLocks noChangeAspect="1" noChangeArrowheads="1"/>
          </p:cNvPicPr>
          <p:nvPr/>
        </p:nvPicPr>
        <p:blipFill>
          <a:blip r:embed="rId5">
            <a:extLst>
              <a:ext uri="{96DAC541-7B7A-43D3-8B79-37D633B846F1}">
                <asvg:svgBlip xmlns:asvg="http://schemas.microsoft.com/office/drawing/2016/SVG/main" r:embed="rId6"/>
              </a:ext>
            </a:extLst>
          </a:blip>
          <a:srcRect/>
          <a:stretch/>
        </p:blipFill>
        <p:spPr bwMode="auto">
          <a:xfrm flipH="1">
            <a:off x="558893" y="1460407"/>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40">
            <a:extLst>
              <a:ext uri="{FF2B5EF4-FFF2-40B4-BE49-F238E27FC236}">
                <a16:creationId xmlns:a16="http://schemas.microsoft.com/office/drawing/2014/main" id="{A935D9EB-90FD-4162-9F20-DA0927B066F3}"/>
              </a:ext>
            </a:extLst>
          </p:cNvPr>
          <p:cNvSpPr txBox="1">
            <a:spLocks noChangeArrowheads="1"/>
          </p:cNvSpPr>
          <p:nvPr/>
        </p:nvSpPr>
        <p:spPr bwMode="auto">
          <a:xfrm>
            <a:off x="248769" y="1984341"/>
            <a:ext cx="10731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solidFill>
                  <a:srgbClr val="000000"/>
                </a:solidFill>
                <a:latin typeface="Arial" panose="020B0604020202020204" pitchFamily="34" charset="0"/>
                <a:cs typeface="Arial" panose="020B0604020202020204" pitchFamily="34" charset="0"/>
              </a:rPr>
              <a:t>Users</a:t>
            </a:r>
          </a:p>
        </p:txBody>
      </p:sp>
      <p:cxnSp>
        <p:nvCxnSpPr>
          <p:cNvPr id="19" name="Straight Arrow Connector 18">
            <a:extLst>
              <a:ext uri="{FF2B5EF4-FFF2-40B4-BE49-F238E27FC236}">
                <a16:creationId xmlns:a16="http://schemas.microsoft.com/office/drawing/2014/main" id="{0519B2B9-6060-45B7-934D-75346741D971}"/>
              </a:ext>
            </a:extLst>
          </p:cNvPr>
          <p:cNvCxnSpPr>
            <a:cxnSpLocks/>
          </p:cNvCxnSpPr>
          <p:nvPr/>
        </p:nvCxnSpPr>
        <p:spPr>
          <a:xfrm>
            <a:off x="770072" y="2324100"/>
            <a:ext cx="0" cy="359833"/>
          </a:xfrm>
          <a:prstGeom prst="straightConnector1">
            <a:avLst/>
          </a:prstGeom>
          <a:ln w="12700">
            <a:solidFill>
              <a:schemeClr val="tx2"/>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pic>
        <p:nvPicPr>
          <p:cNvPr id="22" name="Graphic 12">
            <a:extLst>
              <a:ext uri="{FF2B5EF4-FFF2-40B4-BE49-F238E27FC236}">
                <a16:creationId xmlns:a16="http://schemas.microsoft.com/office/drawing/2014/main" id="{A7D1B3AD-C2CC-4D43-92E9-B6B0D9DFF71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02578" y="2959642"/>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Box 29">
            <a:extLst>
              <a:ext uri="{FF2B5EF4-FFF2-40B4-BE49-F238E27FC236}">
                <a16:creationId xmlns:a16="http://schemas.microsoft.com/office/drawing/2014/main" id="{4C828195-4DEF-49D5-88BC-7A6A015C59AB}"/>
              </a:ext>
            </a:extLst>
          </p:cNvPr>
          <p:cNvSpPr txBox="1">
            <a:spLocks noChangeArrowheads="1"/>
          </p:cNvSpPr>
          <p:nvPr/>
        </p:nvSpPr>
        <p:spPr bwMode="auto">
          <a:xfrm>
            <a:off x="5256292" y="3501867"/>
            <a:ext cx="10731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a:solidFill>
                  <a:srgbClr val="000000"/>
                </a:solidFill>
                <a:latin typeface="Arial" panose="020B0604020202020204" pitchFamily="34" charset="0"/>
                <a:cs typeface="Arial" panose="020B0604020202020204" pitchFamily="34" charset="0"/>
              </a:rPr>
              <a:t>Internet</a:t>
            </a:r>
          </a:p>
        </p:txBody>
      </p:sp>
      <p:cxnSp>
        <p:nvCxnSpPr>
          <p:cNvPr id="25" name="Straight Arrow Connector 24">
            <a:extLst>
              <a:ext uri="{FF2B5EF4-FFF2-40B4-BE49-F238E27FC236}">
                <a16:creationId xmlns:a16="http://schemas.microsoft.com/office/drawing/2014/main" id="{FFFBCA9D-BAA3-4C24-822B-413F25D65169}"/>
              </a:ext>
            </a:extLst>
          </p:cNvPr>
          <p:cNvCxnSpPr/>
          <p:nvPr/>
        </p:nvCxnSpPr>
        <p:spPr>
          <a:xfrm>
            <a:off x="4884187" y="3234510"/>
            <a:ext cx="524423"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pic>
        <p:nvPicPr>
          <p:cNvPr id="27" name="Graphic 11">
            <a:extLst>
              <a:ext uri="{FF2B5EF4-FFF2-40B4-BE49-F238E27FC236}">
                <a16:creationId xmlns:a16="http://schemas.microsoft.com/office/drawing/2014/main" id="{8D3E5B99-B611-4B4A-9139-73D1C0F1905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30969" y="2954482"/>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9" name="Straight Arrow Connector 28">
            <a:extLst>
              <a:ext uri="{FF2B5EF4-FFF2-40B4-BE49-F238E27FC236}">
                <a16:creationId xmlns:a16="http://schemas.microsoft.com/office/drawing/2014/main" id="{9D39A82C-991D-4B0D-9399-65C7F25980E8}"/>
              </a:ext>
            </a:extLst>
          </p:cNvPr>
          <p:cNvCxnSpPr/>
          <p:nvPr/>
        </p:nvCxnSpPr>
        <p:spPr>
          <a:xfrm>
            <a:off x="6208886" y="3234510"/>
            <a:ext cx="524423"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31" name="TextBox 28">
            <a:extLst>
              <a:ext uri="{FF2B5EF4-FFF2-40B4-BE49-F238E27FC236}">
                <a16:creationId xmlns:a16="http://schemas.microsoft.com/office/drawing/2014/main" id="{A40DB953-CE7B-40F1-BFA0-0E0FF0E45E1F}"/>
              </a:ext>
            </a:extLst>
          </p:cNvPr>
          <p:cNvSpPr txBox="1">
            <a:spLocks noChangeArrowheads="1"/>
          </p:cNvSpPr>
          <p:nvPr/>
        </p:nvSpPr>
        <p:spPr bwMode="auto">
          <a:xfrm>
            <a:off x="6529344" y="3559805"/>
            <a:ext cx="10731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a:solidFill>
                  <a:srgbClr val="000000"/>
                </a:solidFill>
                <a:latin typeface="Arial" panose="020B0604020202020204" pitchFamily="34" charset="0"/>
                <a:cs typeface="Arial" panose="020B0604020202020204" pitchFamily="34" charset="0"/>
              </a:rPr>
              <a:t>Generic database</a:t>
            </a:r>
          </a:p>
        </p:txBody>
      </p:sp>
      <p:pic>
        <p:nvPicPr>
          <p:cNvPr id="33" name="Graphic 32">
            <a:extLst>
              <a:ext uri="{FF2B5EF4-FFF2-40B4-BE49-F238E27FC236}">
                <a16:creationId xmlns:a16="http://schemas.microsoft.com/office/drawing/2014/main" id="{D80E483C-6957-42D2-B10D-6E802F442DAE}"/>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6859374" y="1488589"/>
            <a:ext cx="457200" cy="457200"/>
          </a:xfrm>
          <a:prstGeom prst="rect">
            <a:avLst/>
          </a:prstGeom>
        </p:spPr>
      </p:pic>
      <p:cxnSp>
        <p:nvCxnSpPr>
          <p:cNvPr id="34" name="Straight Arrow Connector 33">
            <a:extLst>
              <a:ext uri="{FF2B5EF4-FFF2-40B4-BE49-F238E27FC236}">
                <a16:creationId xmlns:a16="http://schemas.microsoft.com/office/drawing/2014/main" id="{479F7062-09B3-47FC-8D0A-392CE6607F0D}"/>
              </a:ext>
            </a:extLst>
          </p:cNvPr>
          <p:cNvCxnSpPr>
            <a:cxnSpLocks/>
          </p:cNvCxnSpPr>
          <p:nvPr/>
        </p:nvCxnSpPr>
        <p:spPr>
          <a:xfrm flipV="1">
            <a:off x="7087974" y="2387143"/>
            <a:ext cx="0" cy="45747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36" name="TextBox 23">
            <a:extLst>
              <a:ext uri="{FF2B5EF4-FFF2-40B4-BE49-F238E27FC236}">
                <a16:creationId xmlns:a16="http://schemas.microsoft.com/office/drawing/2014/main" id="{E49D1ADE-C0EE-4663-BD4C-36AD04C9000D}"/>
              </a:ext>
            </a:extLst>
          </p:cNvPr>
          <p:cNvSpPr txBox="1">
            <a:spLocks noChangeArrowheads="1"/>
          </p:cNvSpPr>
          <p:nvPr/>
        </p:nvSpPr>
        <p:spPr bwMode="auto">
          <a:xfrm>
            <a:off x="6329442" y="1936239"/>
            <a:ext cx="169602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Arial" panose="020B0604020202020204" pitchFamily="34" charset="0"/>
                <a:ea typeface="Amazon Ember" panose="020B0603020204020204" pitchFamily="34" charset="0"/>
                <a:cs typeface="Arial" panose="020B0604020202020204" pitchFamily="34" charset="0"/>
              </a:rPr>
              <a:t>AWS Backup support for Amazon S3</a:t>
            </a:r>
          </a:p>
        </p:txBody>
      </p:sp>
      <p:pic>
        <p:nvPicPr>
          <p:cNvPr id="37" name="Graphic 6">
            <a:extLst>
              <a:ext uri="{FF2B5EF4-FFF2-40B4-BE49-F238E27FC236}">
                <a16:creationId xmlns:a16="http://schemas.microsoft.com/office/drawing/2014/main" id="{27E95383-6A3A-4A61-B9D2-CB1B6FDF892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488657" y="2954482"/>
            <a:ext cx="560056" cy="560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9" name="Straight Arrow Connector 38">
            <a:extLst>
              <a:ext uri="{FF2B5EF4-FFF2-40B4-BE49-F238E27FC236}">
                <a16:creationId xmlns:a16="http://schemas.microsoft.com/office/drawing/2014/main" id="{C7718CDF-14A9-4B26-A488-65213245B760}"/>
              </a:ext>
            </a:extLst>
          </p:cNvPr>
          <p:cNvCxnSpPr/>
          <p:nvPr/>
        </p:nvCxnSpPr>
        <p:spPr>
          <a:xfrm>
            <a:off x="7665396" y="3234510"/>
            <a:ext cx="524423"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45" name="TextBox 18">
            <a:extLst>
              <a:ext uri="{FF2B5EF4-FFF2-40B4-BE49-F238E27FC236}">
                <a16:creationId xmlns:a16="http://schemas.microsoft.com/office/drawing/2014/main" id="{C4AF728D-AEE2-4779-BAA7-6DD8108D8CDD}"/>
              </a:ext>
            </a:extLst>
          </p:cNvPr>
          <p:cNvSpPr txBox="1">
            <a:spLocks noChangeArrowheads="1"/>
          </p:cNvSpPr>
          <p:nvPr/>
        </p:nvSpPr>
        <p:spPr bwMode="auto">
          <a:xfrm>
            <a:off x="7920222" y="3559805"/>
            <a:ext cx="163234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Arial" panose="020B0604020202020204" pitchFamily="34" charset="0"/>
                <a:ea typeface="Amazon Ember" panose="020B0603020204020204" pitchFamily="34" charset="0"/>
                <a:cs typeface="Arial" panose="020B0604020202020204" pitchFamily="34" charset="0"/>
              </a:rPr>
              <a:t>Snapshot</a:t>
            </a:r>
          </a:p>
        </p:txBody>
      </p:sp>
      <p:pic>
        <p:nvPicPr>
          <p:cNvPr id="46" name="Graphic 8">
            <a:extLst>
              <a:ext uri="{FF2B5EF4-FFF2-40B4-BE49-F238E27FC236}">
                <a16:creationId xmlns:a16="http://schemas.microsoft.com/office/drawing/2014/main" id="{DE85E53B-B62D-47B1-86C7-E53160CDE412}"/>
              </a:ext>
            </a:extLst>
          </p:cNvPr>
          <p:cNvPicPr>
            <a:picLocks noChangeAspect="1" noChangeArrowheads="1"/>
          </p:cNvPicPr>
          <p:nvPr/>
        </p:nvPicPr>
        <p:blipFill>
          <a:blip r:embed="rId12">
            <a:extLst>
              <a:ext uri="{96DAC541-7B7A-43D3-8B79-37D633B846F1}">
                <asvg:svgBlip xmlns:asvg="http://schemas.microsoft.com/office/drawing/2016/SVG/main" r:embed="rId13"/>
              </a:ext>
            </a:extLst>
          </a:blip>
          <a:srcRect/>
          <a:stretch/>
        </p:blipFill>
        <p:spPr bwMode="auto">
          <a:xfrm>
            <a:off x="8591223" y="2152193"/>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Graphic 16">
            <a:extLst>
              <a:ext uri="{FF2B5EF4-FFF2-40B4-BE49-F238E27FC236}">
                <a16:creationId xmlns:a16="http://schemas.microsoft.com/office/drawing/2014/main" id="{A01DBE95-0268-4662-8E49-DF84D69AFD0D}"/>
              </a:ext>
            </a:extLst>
          </p:cNvPr>
          <p:cNvPicPr>
            <a:picLocks noChangeAspect="1" noChangeArrowheads="1"/>
          </p:cNvPicPr>
          <p:nvPr/>
        </p:nvPicPr>
        <p:blipFill>
          <a:blip r:embed="rId14">
            <a:extLst>
              <a:ext uri="{96DAC541-7B7A-43D3-8B79-37D633B846F1}">
                <asvg:svgBlip xmlns:asvg="http://schemas.microsoft.com/office/drawing/2016/SVG/main" r:embed="rId15"/>
              </a:ext>
            </a:extLst>
          </a:blip>
          <a:srcRect/>
          <a:stretch/>
        </p:blipFill>
        <p:spPr bwMode="auto">
          <a:xfrm>
            <a:off x="9863269" y="2152193"/>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TextBox 33">
            <a:extLst>
              <a:ext uri="{FF2B5EF4-FFF2-40B4-BE49-F238E27FC236}">
                <a16:creationId xmlns:a16="http://schemas.microsoft.com/office/drawing/2014/main" id="{A25A6B0C-11FC-496F-844B-D27078F2286A}"/>
              </a:ext>
            </a:extLst>
          </p:cNvPr>
          <p:cNvSpPr txBox="1">
            <a:spLocks noChangeArrowheads="1"/>
          </p:cNvSpPr>
          <p:nvPr/>
        </p:nvSpPr>
        <p:spPr bwMode="auto">
          <a:xfrm>
            <a:off x="9563452" y="2615878"/>
            <a:ext cx="10731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Arial" panose="020B0604020202020204" pitchFamily="34" charset="0"/>
                <a:cs typeface="Arial" panose="020B0604020202020204" pitchFamily="34" charset="0"/>
              </a:rPr>
              <a:t>Documents</a:t>
            </a:r>
          </a:p>
        </p:txBody>
      </p:sp>
      <p:cxnSp>
        <p:nvCxnSpPr>
          <p:cNvPr id="49" name="Straight Arrow Connector 48">
            <a:extLst>
              <a:ext uri="{FF2B5EF4-FFF2-40B4-BE49-F238E27FC236}">
                <a16:creationId xmlns:a16="http://schemas.microsoft.com/office/drawing/2014/main" id="{96B00D34-D72F-418E-8E3F-BA73914775F0}"/>
              </a:ext>
            </a:extLst>
          </p:cNvPr>
          <p:cNvCxnSpPr>
            <a:cxnSpLocks/>
          </p:cNvCxnSpPr>
          <p:nvPr/>
        </p:nvCxnSpPr>
        <p:spPr>
          <a:xfrm>
            <a:off x="9163661" y="2403319"/>
            <a:ext cx="577106" cy="0"/>
          </a:xfrm>
          <a:prstGeom prst="straightConnector1">
            <a:avLst/>
          </a:prstGeom>
          <a:ln w="12700">
            <a:solidFill>
              <a:schemeClr val="tx2"/>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51" name="TextBox 26">
            <a:extLst>
              <a:ext uri="{FF2B5EF4-FFF2-40B4-BE49-F238E27FC236}">
                <a16:creationId xmlns:a16="http://schemas.microsoft.com/office/drawing/2014/main" id="{2AF46E95-9477-4F46-83B2-3FC5A1ED626C}"/>
              </a:ext>
            </a:extLst>
          </p:cNvPr>
          <p:cNvSpPr txBox="1">
            <a:spLocks noChangeArrowheads="1"/>
          </p:cNvSpPr>
          <p:nvPr/>
        </p:nvSpPr>
        <p:spPr bwMode="auto">
          <a:xfrm>
            <a:off x="8336368" y="2615878"/>
            <a:ext cx="10731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solidFill>
                  <a:srgbClr val="000000"/>
                </a:solidFill>
                <a:latin typeface="Arial" panose="020B0604020202020204" pitchFamily="34" charset="0"/>
                <a:cs typeface="Arial" panose="020B0604020202020204" pitchFamily="34" charset="0"/>
              </a:rPr>
              <a:t>Folders</a:t>
            </a:r>
          </a:p>
        </p:txBody>
      </p:sp>
      <p:sp>
        <p:nvSpPr>
          <p:cNvPr id="60" name="Rectangle 59">
            <a:extLst>
              <a:ext uri="{FF2B5EF4-FFF2-40B4-BE49-F238E27FC236}">
                <a16:creationId xmlns:a16="http://schemas.microsoft.com/office/drawing/2014/main" id="{52FE5A5D-BEFE-4928-B6E4-C009D58B8E16}"/>
              </a:ext>
            </a:extLst>
          </p:cNvPr>
          <p:cNvSpPr/>
          <p:nvPr/>
        </p:nvSpPr>
        <p:spPr>
          <a:xfrm>
            <a:off x="10143614" y="4939899"/>
            <a:ext cx="1551235" cy="671763"/>
          </a:xfrm>
          <a:prstGeom prst="rect">
            <a:avLst/>
          </a:prstGeom>
          <a:solidFill>
            <a:srgbClr val="5A6B86">
              <a:alpha val="9804"/>
            </a:srgb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a:lstStyle/>
          <a:p>
            <a:pPr algn="ctr" eaLnBrk="1" fontAlgn="auto" hangingPunct="1">
              <a:spcBef>
                <a:spcPts val="0"/>
              </a:spcBef>
              <a:spcAft>
                <a:spcPts val="0"/>
              </a:spcAft>
              <a:defRPr/>
            </a:pPr>
            <a:endParaRPr lang="it-IT" sz="1200" dirty="0">
              <a:solidFill>
                <a:schemeClr val="tx1"/>
              </a:solidFill>
              <a:latin typeface="Arial" panose="020B0604020202020204" pitchFamily="34" charset="0"/>
              <a:cs typeface="Arial" panose="020B0604020202020204" pitchFamily="34" charset="0"/>
            </a:endParaRPr>
          </a:p>
          <a:p>
            <a:pPr algn="ctr" eaLnBrk="1" fontAlgn="auto" hangingPunct="1">
              <a:spcBef>
                <a:spcPts val="0"/>
              </a:spcBef>
              <a:spcAft>
                <a:spcPts val="0"/>
              </a:spcAft>
              <a:defRPr/>
            </a:pPr>
            <a:endParaRPr lang="en-US" sz="1200" dirty="0">
              <a:solidFill>
                <a:schemeClr val="tx1"/>
              </a:solidFill>
              <a:latin typeface="Arial" panose="020B0604020202020204" pitchFamily="34" charset="0"/>
              <a:cs typeface="Arial" panose="020B0604020202020204" pitchFamily="34" charset="0"/>
            </a:endParaRPr>
          </a:p>
          <a:p>
            <a:pPr algn="ctr" eaLnBrk="1" fontAlgn="auto" hangingPunct="1">
              <a:spcBef>
                <a:spcPts val="0"/>
              </a:spcBef>
              <a:spcAft>
                <a:spcPts val="0"/>
              </a:spcAft>
              <a:defRPr/>
            </a:pPr>
            <a:endParaRPr lang="en-US" sz="1200" dirty="0">
              <a:solidFill>
                <a:schemeClr val="tx1"/>
              </a:solidFill>
              <a:latin typeface="Arial" panose="020B0604020202020204" pitchFamily="34" charset="0"/>
              <a:cs typeface="Arial" panose="020B0604020202020204" pitchFamily="34" charset="0"/>
            </a:endParaRPr>
          </a:p>
          <a:p>
            <a:pPr algn="ctr" eaLnBrk="1" fontAlgn="auto" hangingPunct="1">
              <a:spcBef>
                <a:spcPts val="0"/>
              </a:spcBef>
              <a:spcAft>
                <a:spcPts val="0"/>
              </a:spcAft>
              <a:defRPr/>
            </a:pPr>
            <a:endParaRPr lang="en-US" sz="1200" dirty="0">
              <a:solidFill>
                <a:schemeClr val="tx1"/>
              </a:solidFill>
              <a:latin typeface="Arial" panose="020B0604020202020204" pitchFamily="34" charset="0"/>
              <a:cs typeface="Arial" panose="020B0604020202020204" pitchFamily="34" charset="0"/>
            </a:endParaRPr>
          </a:p>
        </p:txBody>
      </p:sp>
      <p:pic>
        <p:nvPicPr>
          <p:cNvPr id="62" name="Picture 61" descr="A picture containing text, clipart&#10;&#10;Description automatically generated">
            <a:extLst>
              <a:ext uri="{FF2B5EF4-FFF2-40B4-BE49-F238E27FC236}">
                <a16:creationId xmlns:a16="http://schemas.microsoft.com/office/drawing/2014/main" id="{01561732-7CD7-439C-9F32-DA3694C27535}"/>
              </a:ext>
            </a:extLst>
          </p:cNvPr>
          <p:cNvPicPr>
            <a:picLocks noChangeAspect="1"/>
          </p:cNvPicPr>
          <p:nvPr/>
        </p:nvPicPr>
        <p:blipFill>
          <a:blip r:embed="rId16"/>
          <a:stretch>
            <a:fillRect/>
          </a:stretch>
        </p:blipFill>
        <p:spPr>
          <a:xfrm>
            <a:off x="10280197" y="5047475"/>
            <a:ext cx="1278068" cy="456609"/>
          </a:xfrm>
          <a:prstGeom prst="rect">
            <a:avLst/>
          </a:prstGeom>
        </p:spPr>
      </p:pic>
      <p:pic>
        <p:nvPicPr>
          <p:cNvPr id="69" name="Graphic 31">
            <a:extLst>
              <a:ext uri="{FF2B5EF4-FFF2-40B4-BE49-F238E27FC236}">
                <a16:creationId xmlns:a16="http://schemas.microsoft.com/office/drawing/2014/main" id="{6D5812E5-9B94-46E5-9D78-158021AC16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748273" y="4221829"/>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Graphic 31">
            <a:extLst>
              <a:ext uri="{FF2B5EF4-FFF2-40B4-BE49-F238E27FC236}">
                <a16:creationId xmlns:a16="http://schemas.microsoft.com/office/drawing/2014/main" id="{9029AFAA-98B5-49A2-9CFA-E8D17F95F82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163317" y="4275132"/>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TextBox 20">
            <a:extLst>
              <a:ext uri="{FF2B5EF4-FFF2-40B4-BE49-F238E27FC236}">
                <a16:creationId xmlns:a16="http://schemas.microsoft.com/office/drawing/2014/main" id="{95EA7096-A752-4166-9FB2-9CBE28CDC6A9}"/>
              </a:ext>
            </a:extLst>
          </p:cNvPr>
          <p:cNvSpPr txBox="1">
            <a:spLocks noChangeArrowheads="1"/>
          </p:cNvSpPr>
          <p:nvPr/>
        </p:nvSpPr>
        <p:spPr bwMode="auto">
          <a:xfrm>
            <a:off x="7315982" y="4678289"/>
            <a:ext cx="129063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en-US" sz="1100" dirty="0">
                <a:latin typeface="Arial" panose="020B0604020202020204" pitchFamily="34" charset="0"/>
                <a:ea typeface="Amazon Ember" panose="020B0603020204020204" pitchFamily="34" charset="0"/>
                <a:cs typeface="Arial" panose="020B0604020202020204" pitchFamily="34" charset="0"/>
              </a:rPr>
              <a:t>I</a:t>
            </a:r>
            <a:r>
              <a:rPr lang="en-US" altLang="en-US" sz="1100" dirty="0" err="1">
                <a:latin typeface="Arial" panose="020B0604020202020204" pitchFamily="34" charset="0"/>
                <a:ea typeface="Amazon Ember" panose="020B0603020204020204" pitchFamily="34" charset="0"/>
                <a:cs typeface="Arial" panose="020B0604020202020204" pitchFamily="34" charset="0"/>
              </a:rPr>
              <a:t>nput</a:t>
            </a:r>
            <a:r>
              <a:rPr lang="en-US" altLang="en-US" sz="1100" dirty="0">
                <a:latin typeface="Arial" panose="020B0604020202020204" pitchFamily="34" charset="0"/>
                <a:ea typeface="Amazon Ember" panose="020B0603020204020204" pitchFamily="34" charset="0"/>
                <a:cs typeface="Arial" panose="020B0604020202020204" pitchFamily="34" charset="0"/>
              </a:rPr>
              <a:t> Bucket</a:t>
            </a:r>
          </a:p>
        </p:txBody>
      </p:sp>
      <p:sp>
        <p:nvSpPr>
          <p:cNvPr id="72" name="TextBox 20">
            <a:extLst>
              <a:ext uri="{FF2B5EF4-FFF2-40B4-BE49-F238E27FC236}">
                <a16:creationId xmlns:a16="http://schemas.microsoft.com/office/drawing/2014/main" id="{245E317D-8EDE-4553-A044-C0A0230CFE7E}"/>
              </a:ext>
            </a:extLst>
          </p:cNvPr>
          <p:cNvSpPr txBox="1">
            <a:spLocks noChangeArrowheads="1"/>
          </p:cNvSpPr>
          <p:nvPr/>
        </p:nvSpPr>
        <p:spPr bwMode="auto">
          <a:xfrm>
            <a:off x="8729798" y="4681452"/>
            <a:ext cx="129063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en-US" sz="1100" dirty="0">
                <a:latin typeface="Arial" panose="020B0604020202020204" pitchFamily="34" charset="0"/>
                <a:ea typeface="Amazon Ember" panose="020B0603020204020204" pitchFamily="34" charset="0"/>
                <a:cs typeface="Arial" panose="020B0604020202020204" pitchFamily="34" charset="0"/>
              </a:rPr>
              <a:t>Out</a:t>
            </a:r>
            <a:r>
              <a:rPr lang="en-US" altLang="en-US" sz="1100" dirty="0">
                <a:latin typeface="Arial" panose="020B0604020202020204" pitchFamily="34" charset="0"/>
                <a:ea typeface="Amazon Ember" panose="020B0603020204020204" pitchFamily="34" charset="0"/>
                <a:cs typeface="Arial" panose="020B0604020202020204" pitchFamily="34" charset="0"/>
              </a:rPr>
              <a:t>put Bucket</a:t>
            </a:r>
          </a:p>
        </p:txBody>
      </p:sp>
      <p:cxnSp>
        <p:nvCxnSpPr>
          <p:cNvPr id="73" name="Straight Arrow Connector 72">
            <a:extLst>
              <a:ext uri="{FF2B5EF4-FFF2-40B4-BE49-F238E27FC236}">
                <a16:creationId xmlns:a16="http://schemas.microsoft.com/office/drawing/2014/main" id="{86F141EA-4759-4482-B52A-92BFC5A6FA36}"/>
              </a:ext>
            </a:extLst>
          </p:cNvPr>
          <p:cNvCxnSpPr>
            <a:cxnSpLocks/>
          </p:cNvCxnSpPr>
          <p:nvPr/>
        </p:nvCxnSpPr>
        <p:spPr>
          <a:xfrm flipH="1">
            <a:off x="8083691" y="3817363"/>
            <a:ext cx="398368" cy="382621"/>
          </a:xfrm>
          <a:prstGeom prst="straightConnector1">
            <a:avLst/>
          </a:prstGeom>
          <a:ln w="12700">
            <a:solidFill>
              <a:schemeClr val="tx2"/>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A42B23FB-75CE-4A42-BACD-7B3997D74769}"/>
              </a:ext>
            </a:extLst>
          </p:cNvPr>
          <p:cNvCxnSpPr>
            <a:cxnSpLocks/>
          </p:cNvCxnSpPr>
          <p:nvPr/>
        </p:nvCxnSpPr>
        <p:spPr>
          <a:xfrm>
            <a:off x="8908698" y="3813935"/>
            <a:ext cx="384527" cy="420865"/>
          </a:xfrm>
          <a:prstGeom prst="straightConnector1">
            <a:avLst/>
          </a:prstGeom>
          <a:ln w="12700">
            <a:solidFill>
              <a:schemeClr val="tx2"/>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420563A5-0F73-4B59-8EE9-BC30C22B87F1}"/>
              </a:ext>
            </a:extLst>
          </p:cNvPr>
          <p:cNvCxnSpPr>
            <a:cxnSpLocks/>
          </p:cNvCxnSpPr>
          <p:nvPr/>
        </p:nvCxnSpPr>
        <p:spPr>
          <a:xfrm>
            <a:off x="7665396" y="5275779"/>
            <a:ext cx="2197873"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822D975F-CDC2-4FEB-B29B-AA63D6FECB4F}"/>
              </a:ext>
            </a:extLst>
          </p:cNvPr>
          <p:cNvCxnSpPr>
            <a:cxnSpLocks/>
          </p:cNvCxnSpPr>
          <p:nvPr/>
        </p:nvCxnSpPr>
        <p:spPr>
          <a:xfrm>
            <a:off x="6128053" y="3821415"/>
            <a:ext cx="1392250" cy="1379827"/>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930064C1-CE43-41DE-8252-9C965CBA61D8}"/>
              </a:ext>
            </a:extLst>
          </p:cNvPr>
          <p:cNvCxnSpPr>
            <a:cxnSpLocks/>
          </p:cNvCxnSpPr>
          <p:nvPr/>
        </p:nvCxnSpPr>
        <p:spPr>
          <a:xfrm rot="2700000">
            <a:off x="8833155" y="4110528"/>
            <a:ext cx="1644650"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804E5276-D9E2-4C3B-8537-ED6D91A9399D}"/>
              </a:ext>
            </a:extLst>
          </p:cNvPr>
          <p:cNvCxnSpPr>
            <a:cxnSpLocks/>
          </p:cNvCxnSpPr>
          <p:nvPr/>
        </p:nvCxnSpPr>
        <p:spPr>
          <a:xfrm>
            <a:off x="7831512" y="2288554"/>
            <a:ext cx="606517" cy="57223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4CF59EFD-5984-44EF-9E32-B88333B5D42A}"/>
              </a:ext>
            </a:extLst>
          </p:cNvPr>
          <p:cNvCxnSpPr>
            <a:cxnSpLocks/>
          </p:cNvCxnSpPr>
          <p:nvPr/>
        </p:nvCxnSpPr>
        <p:spPr>
          <a:xfrm flipH="1">
            <a:off x="5980741" y="2297919"/>
            <a:ext cx="547451" cy="570345"/>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pic>
        <p:nvPicPr>
          <p:cNvPr id="100" name="Graphic 31">
            <a:extLst>
              <a:ext uri="{FF2B5EF4-FFF2-40B4-BE49-F238E27FC236}">
                <a16:creationId xmlns:a16="http://schemas.microsoft.com/office/drawing/2014/main" id="{44A6C039-547E-442E-9E80-C587B7C0545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704340" y="369061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1" name="Straight Arrow Connector 100">
            <a:extLst>
              <a:ext uri="{FF2B5EF4-FFF2-40B4-BE49-F238E27FC236}">
                <a16:creationId xmlns:a16="http://schemas.microsoft.com/office/drawing/2014/main" id="{83491C57-EFDC-4C17-BE55-9613AE3986FA}"/>
              </a:ext>
            </a:extLst>
          </p:cNvPr>
          <p:cNvCxnSpPr>
            <a:cxnSpLocks/>
          </p:cNvCxnSpPr>
          <p:nvPr/>
        </p:nvCxnSpPr>
        <p:spPr>
          <a:xfrm flipV="1">
            <a:off x="10919231" y="4275132"/>
            <a:ext cx="0" cy="45747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pic>
        <p:nvPicPr>
          <p:cNvPr id="102" name="Graphic 16">
            <a:extLst>
              <a:ext uri="{FF2B5EF4-FFF2-40B4-BE49-F238E27FC236}">
                <a16:creationId xmlns:a16="http://schemas.microsoft.com/office/drawing/2014/main" id="{4DE2CB1A-DECF-4854-9482-E7A1E362333D}"/>
              </a:ext>
            </a:extLst>
          </p:cNvPr>
          <p:cNvPicPr>
            <a:picLocks noChangeAspect="1" noChangeArrowheads="1"/>
          </p:cNvPicPr>
          <p:nvPr/>
        </p:nvPicPr>
        <p:blipFill>
          <a:blip r:embed="rId14">
            <a:extLst>
              <a:ext uri="{96DAC541-7B7A-43D3-8B79-37D633B846F1}">
                <asvg:svgBlip xmlns:asvg="http://schemas.microsoft.com/office/drawing/2016/SVG/main" r:embed="rId15"/>
              </a:ext>
            </a:extLst>
          </a:blip>
          <a:srcRect/>
          <a:stretch/>
        </p:blipFill>
        <p:spPr bwMode="auto">
          <a:xfrm>
            <a:off x="10666616" y="3130551"/>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2040169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cs typeface="Calibri Light"/>
              </a:rPr>
              <a:t>Sintesi delle funzioni dell’APPLICAZIONE </a:t>
            </a:r>
            <a:endParaRPr lang="en-US" dirty="0"/>
          </a:p>
        </p:txBody>
      </p:sp>
      <p:sp>
        <p:nvSpPr>
          <p:cNvPr id="6" name="AutoShape 3"/>
          <p:cNvSpPr>
            <a:spLocks noChangeArrowheads="1"/>
          </p:cNvSpPr>
          <p:nvPr/>
        </p:nvSpPr>
        <p:spPr bwMode="auto">
          <a:xfrm rot="5400000">
            <a:off x="1109980" y="1079410"/>
            <a:ext cx="1097280" cy="2377440"/>
          </a:xfrm>
          <a:prstGeom prst="chevron">
            <a:avLst>
              <a:gd name="adj" fmla="val 25000"/>
            </a:avLst>
          </a:prstGeom>
          <a:solidFill>
            <a:schemeClr val="accent4"/>
          </a:solidFill>
          <a:ln w="6350" algn="ctr">
            <a:noFill/>
            <a:miter lim="800000"/>
            <a:headEnd/>
            <a:tailEnd/>
          </a:ln>
        </p:spPr>
        <p:txBody>
          <a:bodyPr rot="10800000" vert="eaVert" lIns="88900" tIns="88900" rIns="88900" bIns="88900" anchor="ctr"/>
          <a:lstStyle/>
          <a:p>
            <a:pPr algn="ctr">
              <a:defRPr/>
            </a:pPr>
            <a:r>
              <a:rPr lang="it-IT" sz="1200" dirty="0">
                <a:solidFill>
                  <a:schemeClr val="bg1"/>
                </a:solidFill>
                <a:ea typeface="ＭＳ Ｐゴシック" pitchFamily="50" charset="-128"/>
              </a:rPr>
              <a:t>A</a:t>
            </a:r>
            <a:r>
              <a:rPr lang="en-US" sz="1200" dirty="0">
                <a:solidFill>
                  <a:schemeClr val="bg1"/>
                </a:solidFill>
                <a:ea typeface="ＭＳ Ｐゴシック" pitchFamily="50" charset="-128"/>
              </a:rPr>
              <a:t>WS COPY AND SEND</a:t>
            </a:r>
          </a:p>
        </p:txBody>
      </p:sp>
      <p:sp>
        <p:nvSpPr>
          <p:cNvPr id="7" name="AutoShape 4"/>
          <p:cNvSpPr>
            <a:spLocks noChangeArrowheads="1"/>
          </p:cNvSpPr>
          <p:nvPr/>
        </p:nvSpPr>
        <p:spPr bwMode="auto">
          <a:xfrm rot="5400000">
            <a:off x="1109980" y="3545135"/>
            <a:ext cx="1097280" cy="2377440"/>
          </a:xfrm>
          <a:prstGeom prst="chevron">
            <a:avLst>
              <a:gd name="adj" fmla="val 25000"/>
            </a:avLst>
          </a:prstGeom>
          <a:solidFill>
            <a:schemeClr val="accent4"/>
          </a:solidFill>
          <a:ln w="6350" algn="ctr">
            <a:noFill/>
            <a:miter lim="800000"/>
            <a:headEnd/>
            <a:tailEnd/>
          </a:ln>
        </p:spPr>
        <p:txBody>
          <a:bodyPr rot="10800000" vert="eaVert" lIns="88900" tIns="88900" rIns="88900" bIns="88900" anchor="ctr"/>
          <a:lstStyle/>
          <a:p>
            <a:pPr algn="ctr">
              <a:defRPr/>
            </a:pPr>
            <a:r>
              <a:rPr lang="it-IT" sz="1200" dirty="0">
                <a:solidFill>
                  <a:schemeClr val="bg1"/>
                </a:solidFill>
                <a:ea typeface="ＭＳ Ｐゴシック" pitchFamily="50" charset="-128"/>
              </a:rPr>
              <a:t>CUBBIT COPY AND SEND</a:t>
            </a:r>
            <a:endParaRPr lang="en-US" sz="1200" dirty="0">
              <a:solidFill>
                <a:schemeClr val="bg1"/>
              </a:solidFill>
              <a:ea typeface="ＭＳ Ｐゴシック" pitchFamily="50" charset="-128"/>
            </a:endParaRPr>
          </a:p>
        </p:txBody>
      </p:sp>
      <p:sp>
        <p:nvSpPr>
          <p:cNvPr id="10" name="Text Placeholder 5"/>
          <p:cNvSpPr txBox="1">
            <a:spLocks/>
          </p:cNvSpPr>
          <p:nvPr/>
        </p:nvSpPr>
        <p:spPr>
          <a:xfrm>
            <a:off x="3331202" y="1719489"/>
            <a:ext cx="8679522" cy="1615827"/>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it-IT" sz="1800" dirty="0">
                <a:solidFill>
                  <a:schemeClr val="tx1"/>
                </a:solidFill>
              </a:rPr>
              <a:t>FUNZIONALITÀ DI BACKUP DI AWS</a:t>
            </a:r>
            <a:endParaRPr lang="en-US" sz="1800" dirty="0">
              <a:solidFill>
                <a:schemeClr val="tx1"/>
              </a:solidFill>
            </a:endParaRPr>
          </a:p>
          <a:p>
            <a:pPr marL="254000" lvl="2" indent="-114300">
              <a:spcBef>
                <a:spcPts val="600"/>
              </a:spcBef>
              <a:buSzPct val="100000"/>
              <a:buFont typeface="Arial"/>
              <a:buChar char="−"/>
            </a:pPr>
            <a:r>
              <a:rPr lang="en-GB" sz="1800" dirty="0">
                <a:solidFill>
                  <a:schemeClr val="tx1"/>
                </a:solidFill>
              </a:rPr>
              <a:t> </a:t>
            </a:r>
            <a:r>
              <a:rPr lang="it-IT" sz="1800" dirty="0">
                <a:solidFill>
                  <a:schemeClr val="tx1"/>
                </a:solidFill>
              </a:rPr>
              <a:t>Eseguire il backup del database nei bucket AWS S3</a:t>
            </a:r>
            <a:endParaRPr lang="en-GB" sz="1800" dirty="0">
              <a:solidFill>
                <a:schemeClr val="tx1"/>
              </a:solidFill>
            </a:endParaRPr>
          </a:p>
          <a:p>
            <a:pPr marL="254000" lvl="2" indent="-114300">
              <a:spcBef>
                <a:spcPts val="600"/>
              </a:spcBef>
              <a:buSzPct val="100000"/>
              <a:buFont typeface="Arial"/>
              <a:buChar char="−"/>
            </a:pPr>
            <a:r>
              <a:rPr lang="it-IT" sz="1800" dirty="0">
                <a:solidFill>
                  <a:schemeClr val="tx1"/>
                </a:solidFill>
              </a:rPr>
              <a:t> Sposta i file sulla piattaforma CUBBIT con i relativi endpoint API</a:t>
            </a:r>
            <a:endParaRPr lang="en-GB" sz="1800" dirty="0">
              <a:solidFill>
                <a:schemeClr val="tx1"/>
              </a:solidFill>
            </a:endParaRPr>
          </a:p>
          <a:p>
            <a:pPr marL="254000" lvl="2" indent="-114300">
              <a:spcBef>
                <a:spcPts val="600"/>
              </a:spcBef>
              <a:buSzPct val="100000"/>
              <a:buFont typeface="Arial"/>
              <a:buChar char="−"/>
            </a:pPr>
            <a:r>
              <a:rPr lang="it-IT" sz="1800" dirty="0">
                <a:solidFill>
                  <a:schemeClr val="tx1"/>
                </a:solidFill>
              </a:rPr>
              <a:t> Ripristina i file da CUBBIT ogni volta che si verifica un errore tecnico su AWS per recuperare  i dati persi.</a:t>
            </a:r>
            <a:endParaRPr lang="en-GB" sz="1800" dirty="0">
              <a:solidFill>
                <a:schemeClr val="tx1"/>
              </a:solidFill>
            </a:endParaRPr>
          </a:p>
        </p:txBody>
      </p:sp>
      <p:sp>
        <p:nvSpPr>
          <p:cNvPr id="11" name="Text Placeholder 5"/>
          <p:cNvSpPr txBox="1">
            <a:spLocks/>
          </p:cNvSpPr>
          <p:nvPr/>
        </p:nvSpPr>
        <p:spPr>
          <a:xfrm>
            <a:off x="3331202" y="4170963"/>
            <a:ext cx="7663588" cy="738664"/>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800" dirty="0">
                <a:solidFill>
                  <a:schemeClr val="tx1"/>
                </a:solidFill>
              </a:rPr>
              <a:t> </a:t>
            </a:r>
          </a:p>
          <a:p>
            <a:pPr marL="114300" lvl="1" indent="-114300">
              <a:spcBef>
                <a:spcPts val="600"/>
              </a:spcBef>
              <a:buSzPct val="100000"/>
              <a:buFont typeface="Arial"/>
              <a:buChar char="•"/>
            </a:pPr>
            <a:endParaRPr lang="en-GB" sz="1000" dirty="0">
              <a:solidFill>
                <a:schemeClr val="tx1"/>
              </a:solidFill>
            </a:endParaRPr>
          </a:p>
          <a:p>
            <a:pPr marL="139700" lvl="2" indent="0">
              <a:spcBef>
                <a:spcPts val="600"/>
              </a:spcBef>
              <a:buSzPct val="100000"/>
              <a:buNone/>
            </a:pPr>
            <a:r>
              <a:rPr lang="en-GB" sz="1000" dirty="0">
                <a:solidFill>
                  <a:schemeClr val="tx1"/>
                </a:solidFill>
              </a:rPr>
              <a:t>   </a:t>
            </a:r>
            <a:endParaRPr lang="en-US" sz="1000" dirty="0">
              <a:solidFill>
                <a:schemeClr val="tx1"/>
              </a:solidFill>
            </a:endParaRPr>
          </a:p>
        </p:txBody>
      </p:sp>
      <p:sp>
        <p:nvSpPr>
          <p:cNvPr id="15" name="TextBox 14">
            <a:extLst>
              <a:ext uri="{FF2B5EF4-FFF2-40B4-BE49-F238E27FC236}">
                <a16:creationId xmlns:a16="http://schemas.microsoft.com/office/drawing/2014/main" id="{D74A5BB2-0B30-46EE-92B8-23EA667EF153}"/>
              </a:ext>
            </a:extLst>
          </p:cNvPr>
          <p:cNvSpPr txBox="1"/>
          <p:nvPr/>
        </p:nvSpPr>
        <p:spPr>
          <a:xfrm>
            <a:off x="3405130" y="3557103"/>
            <a:ext cx="8316970" cy="16312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Calibri Ligh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it-IT" dirty="0">
              <a:solidFill>
                <a:prstClr val="black"/>
              </a:solidFill>
              <a:latin typeface="Calibr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Calibri Light"/>
                <a:ea typeface="+mn-ea"/>
                <a:cs typeface="+mn-cs"/>
              </a:rPr>
              <a:t>FUNZIONALITÀ DI BACKUP DI CUBBIT</a:t>
            </a:r>
          </a:p>
          <a:p>
            <a:pPr marL="254000" lvl="2" indent="-114300">
              <a:spcBef>
                <a:spcPts val="600"/>
              </a:spcBef>
              <a:buSzPct val="100000"/>
              <a:buFont typeface="Arial"/>
              <a:buChar char="−"/>
            </a:pPr>
            <a:r>
              <a:rPr kumimoji="0" lang="it-IT" sz="1800" b="0" i="0" u="none" strike="noStrike" kern="1200" cap="none" spc="0" normalizeH="0" baseline="0" noProof="0" dirty="0">
                <a:ln>
                  <a:noFill/>
                </a:ln>
                <a:solidFill>
                  <a:prstClr val="black"/>
                </a:solidFill>
                <a:effectLst/>
                <a:uLnTx/>
                <a:uFillTx/>
                <a:latin typeface="Calibri Light"/>
                <a:ea typeface="+mn-ea"/>
                <a:cs typeface="+mn-cs"/>
              </a:rPr>
              <a:t>  </a:t>
            </a:r>
            <a:r>
              <a:rPr lang="it-IT" sz="1800" dirty="0">
                <a:solidFill>
                  <a:schemeClr val="tx1"/>
                </a:solidFill>
              </a:rPr>
              <a:t>Memorizza i file di backup AWS su S3 Bucket della piattaforma CUBBIT</a:t>
            </a:r>
            <a:endParaRPr lang="en-GB" sz="1800" dirty="0">
              <a:solidFill>
                <a:schemeClr val="tx1"/>
              </a:solidFill>
            </a:endParaRPr>
          </a:p>
          <a:p>
            <a:pPr marL="254000" lvl="2" indent="-114300">
              <a:spcBef>
                <a:spcPts val="600"/>
              </a:spcBef>
              <a:buSzPct val="100000"/>
              <a:buFont typeface="Arial"/>
              <a:buChar char="−"/>
            </a:pPr>
            <a:r>
              <a:rPr lang="it-IT" sz="1800" dirty="0">
                <a:solidFill>
                  <a:schemeClr val="tx1"/>
                </a:solidFill>
              </a:rPr>
              <a:t>  In caso di necessità, sposta nuovamente i file su AWS S3 con i relativi endpoint API</a:t>
            </a: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Tree>
    <p:custDataLst>
      <p:custData r:id="rId1"/>
      <p:custData r:id="rId2"/>
    </p:custDataLst>
    <p:extLst>
      <p:ext uri="{BB962C8B-B14F-4D97-AF65-F5344CB8AC3E}">
        <p14:creationId xmlns:p14="http://schemas.microsoft.com/office/powerpoint/2010/main" val="209276050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501650" y="651600"/>
            <a:ext cx="11188700" cy="757255"/>
          </a:xfrm>
        </p:spPr>
        <p:txBody>
          <a:bodyPr/>
          <a:lstStyle/>
          <a:p>
            <a:r>
              <a:rPr lang="it-IT" dirty="0"/>
              <a:t>API DOCUMENTATION</a:t>
            </a:r>
            <a:endParaRPr lang="en-US" dirty="0"/>
          </a:p>
        </p:txBody>
      </p:sp>
      <p:sp>
        <p:nvSpPr>
          <p:cNvPr id="3" name="Title 2"/>
          <p:cNvSpPr>
            <a:spLocks noGrp="1"/>
          </p:cNvSpPr>
          <p:nvPr>
            <p:ph type="title"/>
          </p:nvPr>
        </p:nvSpPr>
        <p:spPr/>
        <p:txBody>
          <a:bodyPr/>
          <a:lstStyle/>
          <a:p>
            <a:r>
              <a:rPr lang="it-IT" dirty="0">
                <a:cs typeface="Calibri Light"/>
              </a:rPr>
              <a:t>Sintesi delle funzioni dell’APPLICAZIONE </a:t>
            </a:r>
            <a:br>
              <a:rPr lang="en-US" dirty="0"/>
            </a:br>
            <a:r>
              <a:rPr lang="en-US" dirty="0"/>
              <a:t>  </a:t>
            </a:r>
          </a:p>
        </p:txBody>
      </p:sp>
      <p:graphicFrame>
        <p:nvGraphicFramePr>
          <p:cNvPr id="14" name="Table 13"/>
          <p:cNvGraphicFramePr>
            <a:graphicFrameLocks noGrp="1"/>
          </p:cNvGraphicFramePr>
          <p:nvPr>
            <p:extLst>
              <p:ext uri="{D42A27DB-BD31-4B8C-83A1-F6EECF244321}">
                <p14:modId xmlns:p14="http://schemas.microsoft.com/office/powerpoint/2010/main" val="3022555675"/>
              </p:ext>
            </p:extLst>
          </p:nvPr>
        </p:nvGraphicFramePr>
        <p:xfrm>
          <a:off x="469900" y="2505400"/>
          <a:ext cx="11252198" cy="2990525"/>
        </p:xfrm>
        <a:graphic>
          <a:graphicData uri="http://schemas.openxmlformats.org/drawingml/2006/table">
            <a:tbl>
              <a:tblPr>
                <a:tableStyleId>{5C22544A-7EE6-4342-B048-85BDC9FD1C3A}</a:tableStyleId>
              </a:tblPr>
              <a:tblGrid>
                <a:gridCol w="2179546">
                  <a:extLst>
                    <a:ext uri="{9D8B030D-6E8A-4147-A177-3AD203B41FA5}">
                      <a16:colId xmlns:a16="http://schemas.microsoft.com/office/drawing/2014/main" val="20000"/>
                    </a:ext>
                  </a:extLst>
                </a:gridCol>
                <a:gridCol w="2268163">
                  <a:extLst>
                    <a:ext uri="{9D8B030D-6E8A-4147-A177-3AD203B41FA5}">
                      <a16:colId xmlns:a16="http://schemas.microsoft.com/office/drawing/2014/main" val="20001"/>
                    </a:ext>
                  </a:extLst>
                </a:gridCol>
                <a:gridCol w="2268163">
                  <a:extLst>
                    <a:ext uri="{9D8B030D-6E8A-4147-A177-3AD203B41FA5}">
                      <a16:colId xmlns:a16="http://schemas.microsoft.com/office/drawing/2014/main" val="20002"/>
                    </a:ext>
                  </a:extLst>
                </a:gridCol>
                <a:gridCol w="2268163">
                  <a:extLst>
                    <a:ext uri="{9D8B030D-6E8A-4147-A177-3AD203B41FA5}">
                      <a16:colId xmlns:a16="http://schemas.microsoft.com/office/drawing/2014/main" val="20003"/>
                    </a:ext>
                  </a:extLst>
                </a:gridCol>
                <a:gridCol w="2268163">
                  <a:extLst>
                    <a:ext uri="{9D8B030D-6E8A-4147-A177-3AD203B41FA5}">
                      <a16:colId xmlns:a16="http://schemas.microsoft.com/office/drawing/2014/main" val="20004"/>
                    </a:ext>
                  </a:extLst>
                </a:gridCol>
              </a:tblGrid>
              <a:tr h="598105">
                <a:tc>
                  <a:txBody>
                    <a:bodyPr/>
                    <a:lstStyle/>
                    <a:p>
                      <a:pPr marL="0" indent="0">
                        <a:spcBef>
                          <a:spcPts val="300"/>
                        </a:spcBef>
                        <a:buFont typeface="Arial" panose="020B0604020202020204" pitchFamily="34" charset="0"/>
                        <a:buNone/>
                      </a:pPr>
                      <a:r>
                        <a:rPr lang="it-IT" sz="1000" b="0" dirty="0">
                          <a:solidFill>
                            <a:schemeClr val="tx1"/>
                          </a:solidFill>
                          <a:latin typeface="+mn-lt"/>
                        </a:rPr>
                        <a:t>/</a:t>
                      </a:r>
                      <a:r>
                        <a:rPr lang="en-US" sz="1000" b="0" dirty="0">
                          <a:solidFill>
                            <a:schemeClr val="tx1"/>
                          </a:solidFill>
                          <a:latin typeface="+mn-lt"/>
                        </a:rPr>
                        <a:t>backup/</a:t>
                      </a:r>
                      <a:r>
                        <a:rPr lang="en-US" sz="1000" b="0" dirty="0" err="1">
                          <a:solidFill>
                            <a:schemeClr val="tx1"/>
                          </a:solidFill>
                          <a:latin typeface="+mn-lt"/>
                        </a:rPr>
                        <a:t>aws</a:t>
                      </a:r>
                      <a:r>
                        <a:rPr lang="en-US" sz="1000" b="0" dirty="0">
                          <a:solidFill>
                            <a:schemeClr val="tx1"/>
                          </a:solidFill>
                          <a:latin typeface="+mn-lt"/>
                        </a:rPr>
                        <a:t>/send/</a:t>
                      </a:r>
                      <a:r>
                        <a:rPr lang="en-US" sz="1000" b="0" dirty="0" err="1">
                          <a:solidFill>
                            <a:schemeClr val="tx1"/>
                          </a:solidFill>
                          <a:latin typeface="+mn-lt"/>
                        </a:rPr>
                        <a:t>fileId</a:t>
                      </a: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it-IT" sz="1000" b="0" dirty="0">
                          <a:solidFill>
                            <a:schemeClr val="tx1"/>
                          </a:solidFill>
                          <a:latin typeface="+mn-lt"/>
                        </a:rPr>
                        <a:t>P</a:t>
                      </a:r>
                      <a:r>
                        <a:rPr lang="en-US" sz="1000" b="0" dirty="0">
                          <a:solidFill>
                            <a:schemeClr val="tx1"/>
                          </a:solidFill>
                          <a:latin typeface="+mn-lt"/>
                        </a:rPr>
                        <a:t>OST</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it-IT" sz="1000" b="0" dirty="0">
                          <a:solidFill>
                            <a:schemeClr val="tx1"/>
                          </a:solidFill>
                          <a:latin typeface="+mn-lt"/>
                        </a:rPr>
                        <a:t>S</a:t>
                      </a:r>
                      <a:r>
                        <a:rPr lang="en-US" sz="1000" b="0" dirty="0">
                          <a:solidFill>
                            <a:schemeClr val="tx1"/>
                          </a:solidFill>
                          <a:latin typeface="+mn-lt"/>
                        </a:rPr>
                        <a:t>end the backup files from AWS to CUBBIT</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it-IT" sz="1000" b="0" dirty="0">
                          <a:solidFill>
                            <a:schemeClr val="tx1"/>
                          </a:solidFill>
                          <a:latin typeface="+mn-lt"/>
                        </a:rPr>
                        <a:t>To be build</a:t>
                      </a: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0"/>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000" b="0" dirty="0">
                          <a:solidFill>
                            <a:schemeClr val="tx1"/>
                          </a:solidFill>
                          <a:latin typeface="+mn-lt"/>
                        </a:rPr>
                        <a:t>/</a:t>
                      </a:r>
                      <a:r>
                        <a:rPr lang="en-US" sz="1000" b="0" dirty="0">
                          <a:solidFill>
                            <a:schemeClr val="tx1"/>
                          </a:solidFill>
                          <a:latin typeface="+mn-lt"/>
                        </a:rPr>
                        <a:t>backup/</a:t>
                      </a:r>
                      <a:r>
                        <a:rPr lang="en-US" sz="1000" b="0" dirty="0" err="1">
                          <a:solidFill>
                            <a:schemeClr val="tx1"/>
                          </a:solidFill>
                          <a:latin typeface="+mn-lt"/>
                        </a:rPr>
                        <a:t>aws</a:t>
                      </a:r>
                      <a:r>
                        <a:rPr lang="en-US" sz="1000" b="0" dirty="0">
                          <a:solidFill>
                            <a:schemeClr val="tx1"/>
                          </a:solidFill>
                          <a:latin typeface="+mn-lt"/>
                        </a:rPr>
                        <a:t>/copy/</a:t>
                      </a:r>
                      <a:r>
                        <a:rPr lang="en-US" sz="1000" b="0" dirty="0" err="1">
                          <a:solidFill>
                            <a:schemeClr val="tx1"/>
                          </a:solidFill>
                          <a:latin typeface="+mn-lt"/>
                        </a:rPr>
                        <a:t>fileId</a:t>
                      </a: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000" b="0" dirty="0">
                          <a:solidFill>
                            <a:schemeClr val="tx1"/>
                          </a:solidFill>
                          <a:latin typeface="+mn-lt"/>
                        </a:rPr>
                        <a:t>GET</a:t>
                      </a: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000" b="0" dirty="0">
                          <a:solidFill>
                            <a:schemeClr val="tx1"/>
                          </a:solidFill>
                          <a:latin typeface="+mn-lt"/>
                        </a:rPr>
                        <a:t>Copy the backup files from AWS folders</a:t>
                      </a: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000" b="0" dirty="0">
                          <a:solidFill>
                            <a:schemeClr val="tx1"/>
                          </a:solidFill>
                          <a:latin typeface="+mn-lt"/>
                        </a:rPr>
                        <a:t>To be build</a:t>
                      </a: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1"/>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000" b="0" dirty="0">
                          <a:solidFill>
                            <a:schemeClr val="tx1"/>
                          </a:solidFill>
                          <a:latin typeface="+mn-lt"/>
                        </a:rPr>
                        <a:t>/</a:t>
                      </a:r>
                      <a:r>
                        <a:rPr lang="en-US" sz="1000" b="0" dirty="0">
                          <a:solidFill>
                            <a:schemeClr val="tx1"/>
                          </a:solidFill>
                          <a:latin typeface="+mn-lt"/>
                        </a:rPr>
                        <a:t>backup/cubit/send/</a:t>
                      </a:r>
                      <a:r>
                        <a:rPr lang="en-US" sz="1000" b="0" dirty="0" err="1">
                          <a:solidFill>
                            <a:schemeClr val="tx1"/>
                          </a:solidFill>
                          <a:latin typeface="+mn-lt"/>
                        </a:rPr>
                        <a:t>fileId</a:t>
                      </a: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it-IT" sz="1000" b="0" dirty="0">
                          <a:solidFill>
                            <a:schemeClr val="tx1"/>
                          </a:solidFill>
                          <a:latin typeface="+mn-lt"/>
                        </a:rPr>
                        <a:t>P</a:t>
                      </a:r>
                      <a:r>
                        <a:rPr lang="en-US" sz="1000" b="0" dirty="0">
                          <a:solidFill>
                            <a:schemeClr val="tx1"/>
                          </a:solidFill>
                          <a:latin typeface="+mn-lt"/>
                        </a:rPr>
                        <a:t>OST</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it-IT" sz="1000" b="0" dirty="0">
                          <a:solidFill>
                            <a:schemeClr val="tx1"/>
                          </a:solidFill>
                          <a:latin typeface="+mn-lt"/>
                        </a:rPr>
                        <a:t>S</a:t>
                      </a:r>
                      <a:r>
                        <a:rPr lang="en-US" sz="1000" b="0" dirty="0">
                          <a:solidFill>
                            <a:schemeClr val="tx1"/>
                          </a:solidFill>
                          <a:latin typeface="+mn-lt"/>
                        </a:rPr>
                        <a:t>end the backup files from CUBBIT to AWS</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it-IT" sz="1000" b="0" dirty="0">
                          <a:solidFill>
                            <a:schemeClr val="tx1"/>
                          </a:solidFill>
                          <a:latin typeface="+mn-lt"/>
                        </a:rPr>
                        <a:t>To be build</a:t>
                      </a: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2"/>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000" b="0" dirty="0">
                          <a:solidFill>
                            <a:schemeClr val="tx1"/>
                          </a:solidFill>
                          <a:latin typeface="+mn-lt"/>
                        </a:rPr>
                        <a:t>/</a:t>
                      </a:r>
                      <a:r>
                        <a:rPr lang="en-US" sz="1000" b="0" dirty="0">
                          <a:solidFill>
                            <a:schemeClr val="tx1"/>
                          </a:solidFill>
                          <a:latin typeface="+mn-lt"/>
                        </a:rPr>
                        <a:t>backup/cubit/copy/</a:t>
                      </a:r>
                      <a:r>
                        <a:rPr lang="en-US" sz="1000" b="0" dirty="0" err="1">
                          <a:solidFill>
                            <a:schemeClr val="tx1"/>
                          </a:solidFill>
                          <a:latin typeface="+mn-lt"/>
                        </a:rPr>
                        <a:t>fileId</a:t>
                      </a: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000" b="0" dirty="0">
                          <a:solidFill>
                            <a:schemeClr val="tx1"/>
                          </a:solidFill>
                          <a:latin typeface="+mn-lt"/>
                        </a:rPr>
                        <a:t>GET</a:t>
                      </a: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000" b="0" dirty="0">
                          <a:solidFill>
                            <a:schemeClr val="tx1"/>
                          </a:solidFill>
                          <a:latin typeface="+mn-lt"/>
                        </a:rPr>
                        <a:t>Copy the backup files from CUBBIT folders</a:t>
                      </a: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000" b="0" dirty="0">
                          <a:solidFill>
                            <a:schemeClr val="tx1"/>
                          </a:solidFill>
                          <a:latin typeface="+mn-lt"/>
                        </a:rPr>
                        <a:t>T</a:t>
                      </a:r>
                      <a:r>
                        <a:rPr lang="en-US" sz="1000" b="0" dirty="0">
                          <a:solidFill>
                            <a:schemeClr val="tx1"/>
                          </a:solidFill>
                          <a:latin typeface="+mn-lt"/>
                        </a:rPr>
                        <a:t>o be build</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3"/>
                  </a:ext>
                </a:extLst>
              </a:tr>
              <a:tr h="598105">
                <a:tc>
                  <a:txBody>
                    <a:bodyPr/>
                    <a:lstStyle/>
                    <a:p>
                      <a:pPr marL="0" indent="0">
                        <a:spcBef>
                          <a:spcPts val="300"/>
                        </a:spcBef>
                        <a:buFont typeface="Arial" panose="020B0604020202020204" pitchFamily="34" charset="0"/>
                        <a:buNone/>
                      </a:pPr>
                      <a:r>
                        <a:rPr lang="it-IT" sz="1000" b="0" dirty="0">
                          <a:solidFill>
                            <a:schemeClr val="tx1"/>
                          </a:solidFill>
                          <a:latin typeface="+mn-lt"/>
                        </a:rPr>
                        <a:t>/backup/health</a:t>
                      </a: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000" b="0" dirty="0">
                          <a:solidFill>
                            <a:schemeClr val="tx1"/>
                          </a:solidFill>
                          <a:latin typeface="+mn-lt"/>
                        </a:rPr>
                        <a:t>GET</a:t>
                      </a: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000" b="0" dirty="0">
                          <a:solidFill>
                            <a:schemeClr val="tx1"/>
                          </a:solidFill>
                          <a:latin typeface="+mn-lt"/>
                        </a:rPr>
                        <a:t>API Health check endpoint</a:t>
                      </a: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it-IT" sz="1000" b="0" dirty="0">
                          <a:solidFill>
                            <a:schemeClr val="tx1"/>
                          </a:solidFill>
                          <a:latin typeface="+mn-lt"/>
                        </a:rPr>
                        <a:t>To be build</a:t>
                      </a: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en-US" sz="1000" b="0" dirty="0">
                        <a:solidFill>
                          <a:schemeClr val="tx1"/>
                        </a:solidFill>
                        <a:latin typeface="+mn-lt"/>
                      </a:endParaRP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12" name="Pentagon 11"/>
          <p:cNvSpPr/>
          <p:nvPr/>
        </p:nvSpPr>
        <p:spPr>
          <a:xfrm>
            <a:off x="469900" y="1956760"/>
            <a:ext cx="2412000" cy="548640"/>
          </a:xfrm>
          <a:prstGeom prst="homePlat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it-IT" sz="1200" dirty="0">
                <a:solidFill>
                  <a:schemeClr val="bg1"/>
                </a:solidFill>
              </a:rPr>
              <a:t>ENDPOINT</a:t>
            </a:r>
            <a:endParaRPr lang="en-US" sz="1200" dirty="0">
              <a:solidFill>
                <a:schemeClr val="bg1"/>
              </a:solidFill>
            </a:endParaRPr>
          </a:p>
        </p:txBody>
      </p:sp>
      <p:sp>
        <p:nvSpPr>
          <p:cNvPr id="13" name="Chevron 12"/>
          <p:cNvSpPr/>
          <p:nvPr/>
        </p:nvSpPr>
        <p:spPr>
          <a:xfrm>
            <a:off x="2569502" y="1956760"/>
            <a:ext cx="2412000" cy="548640"/>
          </a:xfrm>
          <a:prstGeom prst="chevron">
            <a:avLst/>
          </a:prstGeom>
          <a:solidFill>
            <a:srgbClr val="D0D0C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r>
              <a:rPr lang="it-IT" sz="1200" dirty="0">
                <a:solidFill>
                  <a:schemeClr val="bg1"/>
                </a:solidFill>
              </a:rPr>
              <a:t>METHOD</a:t>
            </a:r>
            <a:endParaRPr lang="en-US" sz="1200" dirty="0">
              <a:solidFill>
                <a:schemeClr val="bg1"/>
              </a:solidFill>
            </a:endParaRPr>
          </a:p>
        </p:txBody>
      </p:sp>
      <p:sp>
        <p:nvSpPr>
          <p:cNvPr id="15" name="Chevron 14"/>
          <p:cNvSpPr/>
          <p:nvPr/>
        </p:nvSpPr>
        <p:spPr>
          <a:xfrm>
            <a:off x="4669104" y="1956760"/>
            <a:ext cx="2412000" cy="548640"/>
          </a:xfrm>
          <a:prstGeom prst="chevron">
            <a:avLst/>
          </a:prstGeom>
          <a:solidFill>
            <a:srgbClr val="A7A8AA"/>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r>
              <a:rPr lang="it-IT" sz="1200" dirty="0">
                <a:solidFill>
                  <a:schemeClr val="bg1"/>
                </a:solidFill>
              </a:rPr>
              <a:t>PURPOSE</a:t>
            </a:r>
            <a:endParaRPr lang="en-US" sz="1200" dirty="0">
              <a:solidFill>
                <a:schemeClr val="bg1"/>
              </a:solidFill>
            </a:endParaRPr>
          </a:p>
        </p:txBody>
      </p:sp>
      <p:sp>
        <p:nvSpPr>
          <p:cNvPr id="17" name="Chevron 16"/>
          <p:cNvSpPr/>
          <p:nvPr/>
        </p:nvSpPr>
        <p:spPr>
          <a:xfrm>
            <a:off x="6768706" y="1956760"/>
            <a:ext cx="2412000" cy="548640"/>
          </a:xfrm>
          <a:prstGeom prst="chevron">
            <a:avLst/>
          </a:prstGeom>
          <a:solidFill>
            <a:srgbClr val="75787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r>
              <a:rPr lang="it-IT" sz="1200" dirty="0">
                <a:cs typeface="Calibri Light"/>
              </a:rPr>
              <a:t>VERSION </a:t>
            </a:r>
            <a:endParaRPr lang="en-US" sz="1200" dirty="0"/>
          </a:p>
        </p:txBody>
      </p:sp>
      <p:sp>
        <p:nvSpPr>
          <p:cNvPr id="20" name="Text Placeholder 14"/>
          <p:cNvSpPr txBox="1">
            <a:spLocks/>
          </p:cNvSpPr>
          <p:nvPr/>
        </p:nvSpPr>
        <p:spPr>
          <a:xfrm>
            <a:off x="469900" y="1700213"/>
            <a:ext cx="9802101" cy="357190"/>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US" dirty="0"/>
          </a:p>
        </p:txBody>
      </p:sp>
    </p:spTree>
    <p:custDataLst>
      <p:custData r:id="rId1"/>
      <p:custData r:id="rId2"/>
      <p:tags r:id="rId3"/>
    </p:custDataLst>
    <p:extLst>
      <p:ext uri="{BB962C8B-B14F-4D97-AF65-F5344CB8AC3E}">
        <p14:creationId xmlns:p14="http://schemas.microsoft.com/office/powerpoint/2010/main" val="204990275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9">
            <a:extLst>
              <a:ext uri="{FF2B5EF4-FFF2-40B4-BE49-F238E27FC236}">
                <a16:creationId xmlns:a16="http://schemas.microsoft.com/office/drawing/2014/main" id="{4D908A40-0BBF-4FDE-8CE0-EC8AB336493F}"/>
              </a:ext>
            </a:extLst>
          </p:cNvPr>
          <p:cNvPicPr preferRelativeResize="0">
            <a:picLocks noGrp="1"/>
          </p:cNvPicPr>
          <p:nvPr>
            <p:ph type="pic" sz="quarter" idx="11"/>
          </p:nvPr>
        </p:nvPicPr>
        <p:blipFill>
          <a:blip r:embed="rId5"/>
          <a:srcRect t="15" b="15"/>
          <a:stretch>
            <a:fillRect/>
          </a:stretch>
        </p:blipFill>
        <p:spPr>
          <a:xfrm>
            <a:off x="3385479" y="806196"/>
            <a:ext cx="5404104" cy="5404104"/>
          </a:xfrm>
        </p:spPr>
      </p:pic>
      <p:sp>
        <p:nvSpPr>
          <p:cNvPr id="3" name="Title 2"/>
          <p:cNvSpPr>
            <a:spLocks noGrp="1"/>
          </p:cNvSpPr>
          <p:nvPr>
            <p:ph type="ctrTitle"/>
          </p:nvPr>
        </p:nvSpPr>
        <p:spPr>
          <a:xfrm>
            <a:off x="501651" y="5762308"/>
            <a:ext cx="4446270" cy="895983"/>
          </a:xfrm>
        </p:spPr>
        <p:txBody>
          <a:bodyPr/>
          <a:lstStyle/>
          <a:p>
            <a:r>
              <a:rPr lang="it-IT" dirty="0">
                <a:cs typeface="Calibri Light"/>
              </a:rPr>
              <a:t>l'invio di informazioni da AWS a CUBBIT </a:t>
            </a:r>
            <a:br>
              <a:rPr lang="en-GB" dirty="0"/>
            </a:br>
            <a:endParaRPr lang="en-GB" dirty="0"/>
          </a:p>
        </p:txBody>
      </p:sp>
      <p:sp>
        <p:nvSpPr>
          <p:cNvPr id="5" name="Text Placeholder 4"/>
          <p:cNvSpPr>
            <a:spLocks noGrp="1"/>
          </p:cNvSpPr>
          <p:nvPr>
            <p:ph type="body" sz="quarter" idx="10"/>
          </p:nvPr>
        </p:nvSpPr>
        <p:spPr/>
        <p:txBody>
          <a:bodyPr/>
          <a:lstStyle/>
          <a:p>
            <a:r>
              <a:rPr lang="en-GB" cap="all" dirty="0"/>
              <a:t>March 2023</a:t>
            </a:r>
          </a:p>
        </p:txBody>
      </p:sp>
    </p:spTree>
    <p:custDataLst>
      <p:custData r:id="rId1"/>
      <p:custData r:id="rId2"/>
      <p:tags r:id="rId3"/>
    </p:custDataLst>
    <p:extLst>
      <p:ext uri="{BB962C8B-B14F-4D97-AF65-F5344CB8AC3E}">
        <p14:creationId xmlns:p14="http://schemas.microsoft.com/office/powerpoint/2010/main" val="101306983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8830A6-D613-12CE-E64F-10798E2F6B63}"/>
              </a:ext>
            </a:extLst>
          </p:cNvPr>
          <p:cNvPicPr>
            <a:picLocks noChangeAspect="1"/>
          </p:cNvPicPr>
          <p:nvPr/>
        </p:nvPicPr>
        <p:blipFill>
          <a:blip r:embed="rId5"/>
          <a:stretch>
            <a:fillRect/>
          </a:stretch>
        </p:blipFill>
        <p:spPr>
          <a:xfrm>
            <a:off x="1778528" y="815454"/>
            <a:ext cx="9179282" cy="5227091"/>
          </a:xfrm>
          <a:prstGeom prst="rect">
            <a:avLst/>
          </a:prstGeom>
        </p:spPr>
      </p:pic>
      <p:sp>
        <p:nvSpPr>
          <p:cNvPr id="7" name="Title 2">
            <a:extLst>
              <a:ext uri="{FF2B5EF4-FFF2-40B4-BE49-F238E27FC236}">
                <a16:creationId xmlns:a16="http://schemas.microsoft.com/office/drawing/2014/main" id="{0640C8A4-F159-DEB7-F97A-AF1AA80371A3}"/>
              </a:ext>
            </a:extLst>
          </p:cNvPr>
          <p:cNvSpPr>
            <a:spLocks noGrp="1"/>
          </p:cNvSpPr>
          <p:nvPr>
            <p:ph type="title"/>
          </p:nvPr>
        </p:nvSpPr>
        <p:spPr>
          <a:xfrm>
            <a:off x="501650" y="116953"/>
            <a:ext cx="11188700" cy="698501"/>
          </a:xfrm>
        </p:spPr>
        <p:txBody>
          <a:bodyPr/>
          <a:lstStyle/>
          <a:p>
            <a:r>
              <a:rPr lang="it-IT" dirty="0">
                <a:cs typeface="Calibri Light"/>
              </a:rPr>
              <a:t>I passaggi per l'invio di informazioni da AWS a CUBBIT </a:t>
            </a: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b="1" dirty="0" err="1"/>
              <a:t>Passo</a:t>
            </a:r>
            <a:r>
              <a:rPr lang="en-US" dirty="0"/>
              <a:t> 1</a:t>
            </a:r>
          </a:p>
        </p:txBody>
      </p:sp>
    </p:spTree>
    <p:custDataLst>
      <p:custData r:id="rId1"/>
      <p:custData r:id="rId2"/>
    </p:custDataLst>
    <p:extLst>
      <p:ext uri="{BB962C8B-B14F-4D97-AF65-F5344CB8AC3E}">
        <p14:creationId xmlns:p14="http://schemas.microsoft.com/office/powerpoint/2010/main" val="357328363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0640C8A4-F159-DEB7-F97A-AF1AA80371A3}"/>
              </a:ext>
            </a:extLst>
          </p:cNvPr>
          <p:cNvSpPr>
            <a:spLocks noGrp="1"/>
          </p:cNvSpPr>
          <p:nvPr>
            <p:ph type="title"/>
          </p:nvPr>
        </p:nvSpPr>
        <p:spPr>
          <a:xfrm>
            <a:off x="501650" y="116953"/>
            <a:ext cx="11188700" cy="698501"/>
          </a:xfrm>
        </p:spPr>
        <p:txBody>
          <a:bodyPr/>
          <a:lstStyle/>
          <a:p>
            <a:r>
              <a:rPr lang="it-IT" dirty="0">
                <a:cs typeface="Calibri Light"/>
              </a:rPr>
              <a:t>I passaggi per l'invio di informazioni da AWS a CUBBIT </a:t>
            </a: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b="1" dirty="0" err="1"/>
              <a:t>Passo</a:t>
            </a:r>
            <a:r>
              <a:rPr lang="en-US" dirty="0"/>
              <a:t> 2</a:t>
            </a:r>
          </a:p>
        </p:txBody>
      </p:sp>
      <p:pic>
        <p:nvPicPr>
          <p:cNvPr id="4" name="Picture 3">
            <a:extLst>
              <a:ext uri="{FF2B5EF4-FFF2-40B4-BE49-F238E27FC236}">
                <a16:creationId xmlns:a16="http://schemas.microsoft.com/office/drawing/2014/main" id="{81AFADC4-4E13-CAD7-47A8-3332B8170D29}"/>
              </a:ext>
            </a:extLst>
          </p:cNvPr>
          <p:cNvPicPr>
            <a:picLocks noChangeAspect="1"/>
          </p:cNvPicPr>
          <p:nvPr/>
        </p:nvPicPr>
        <p:blipFill>
          <a:blip r:embed="rId5"/>
          <a:stretch>
            <a:fillRect/>
          </a:stretch>
        </p:blipFill>
        <p:spPr>
          <a:xfrm>
            <a:off x="1543987" y="1216217"/>
            <a:ext cx="9908498" cy="4181441"/>
          </a:xfrm>
          <a:prstGeom prst="rect">
            <a:avLst/>
          </a:prstGeom>
        </p:spPr>
      </p:pic>
    </p:spTree>
    <p:custDataLst>
      <p:custData r:id="rId1"/>
      <p:custData r:id="rId2"/>
    </p:custDataLst>
    <p:extLst>
      <p:ext uri="{BB962C8B-B14F-4D97-AF65-F5344CB8AC3E}">
        <p14:creationId xmlns:p14="http://schemas.microsoft.com/office/powerpoint/2010/main" val="174534887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0640C8A4-F159-DEB7-F97A-AF1AA80371A3}"/>
              </a:ext>
            </a:extLst>
          </p:cNvPr>
          <p:cNvSpPr>
            <a:spLocks noGrp="1"/>
          </p:cNvSpPr>
          <p:nvPr>
            <p:ph type="title"/>
          </p:nvPr>
        </p:nvSpPr>
        <p:spPr>
          <a:xfrm>
            <a:off x="501650" y="116953"/>
            <a:ext cx="11188700" cy="698501"/>
          </a:xfrm>
        </p:spPr>
        <p:txBody>
          <a:bodyPr/>
          <a:lstStyle/>
          <a:p>
            <a:r>
              <a:rPr lang="it-IT" dirty="0">
                <a:cs typeface="Calibri Light"/>
              </a:rPr>
              <a:t>I passaggi per l'invio di informazioni da AWS a CUBBIT </a:t>
            </a: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err="1"/>
              <a:t>Passo</a:t>
            </a:r>
            <a:r>
              <a:rPr lang="en-US" dirty="0"/>
              <a:t> 3</a:t>
            </a:r>
          </a:p>
        </p:txBody>
      </p:sp>
      <p:pic>
        <p:nvPicPr>
          <p:cNvPr id="3" name="Picture 2">
            <a:extLst>
              <a:ext uri="{FF2B5EF4-FFF2-40B4-BE49-F238E27FC236}">
                <a16:creationId xmlns:a16="http://schemas.microsoft.com/office/drawing/2014/main" id="{B10B4AA0-3631-2BAE-6535-761EA7E6979F}"/>
              </a:ext>
            </a:extLst>
          </p:cNvPr>
          <p:cNvPicPr>
            <a:picLocks noChangeAspect="1"/>
          </p:cNvPicPr>
          <p:nvPr/>
        </p:nvPicPr>
        <p:blipFill>
          <a:blip r:embed="rId5"/>
          <a:stretch>
            <a:fillRect/>
          </a:stretch>
        </p:blipFill>
        <p:spPr>
          <a:xfrm>
            <a:off x="1881763" y="815454"/>
            <a:ext cx="8761253" cy="5371099"/>
          </a:xfrm>
          <a:prstGeom prst="rect">
            <a:avLst/>
          </a:prstGeom>
        </p:spPr>
      </p:pic>
    </p:spTree>
    <p:custDataLst>
      <p:custData r:id="rId1"/>
      <p:custData r:id="rId2"/>
    </p:custDataLst>
    <p:extLst>
      <p:ext uri="{BB962C8B-B14F-4D97-AF65-F5344CB8AC3E}">
        <p14:creationId xmlns:p14="http://schemas.microsoft.com/office/powerpoint/2010/main" val="231227694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0640C8A4-F159-DEB7-F97A-AF1AA80371A3}"/>
              </a:ext>
            </a:extLst>
          </p:cNvPr>
          <p:cNvSpPr>
            <a:spLocks noGrp="1"/>
          </p:cNvSpPr>
          <p:nvPr>
            <p:ph type="title"/>
          </p:nvPr>
        </p:nvSpPr>
        <p:spPr>
          <a:xfrm>
            <a:off x="501650" y="116953"/>
            <a:ext cx="11188700" cy="698501"/>
          </a:xfrm>
        </p:spPr>
        <p:txBody>
          <a:bodyPr/>
          <a:lstStyle/>
          <a:p>
            <a:r>
              <a:rPr lang="it-IT" dirty="0">
                <a:cs typeface="Calibri Light"/>
              </a:rPr>
              <a:t>I passaggi per l'invio di informazioni da AWS a CUBBIT </a:t>
            </a: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b="1" dirty="0" err="1"/>
              <a:t>Passo</a:t>
            </a:r>
            <a:r>
              <a:rPr lang="en-US" dirty="0"/>
              <a:t> 4</a:t>
            </a:r>
          </a:p>
        </p:txBody>
      </p:sp>
      <p:pic>
        <p:nvPicPr>
          <p:cNvPr id="4" name="Picture 3">
            <a:extLst>
              <a:ext uri="{FF2B5EF4-FFF2-40B4-BE49-F238E27FC236}">
                <a16:creationId xmlns:a16="http://schemas.microsoft.com/office/drawing/2014/main" id="{802DF714-C6FC-FF51-5C54-C20DE90ADE2F}"/>
              </a:ext>
            </a:extLst>
          </p:cNvPr>
          <p:cNvPicPr>
            <a:picLocks noChangeAspect="1"/>
          </p:cNvPicPr>
          <p:nvPr/>
        </p:nvPicPr>
        <p:blipFill>
          <a:blip r:embed="rId5"/>
          <a:stretch>
            <a:fillRect/>
          </a:stretch>
        </p:blipFill>
        <p:spPr>
          <a:xfrm>
            <a:off x="1981363" y="815454"/>
            <a:ext cx="8766583" cy="5256654"/>
          </a:xfrm>
          <a:prstGeom prst="rect">
            <a:avLst/>
          </a:prstGeom>
        </p:spPr>
      </p:pic>
    </p:spTree>
    <p:custDataLst>
      <p:custData r:id="rId1"/>
      <p:custData r:id="rId2"/>
    </p:custDataLst>
    <p:extLst>
      <p:ext uri="{BB962C8B-B14F-4D97-AF65-F5344CB8AC3E}">
        <p14:creationId xmlns:p14="http://schemas.microsoft.com/office/powerpoint/2010/main" val="338465038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E40E0191-2040-EDE2-3869-BDF004272C2A}"/>
              </a:ext>
            </a:extLst>
          </p:cNvPr>
          <p:cNvSpPr txBox="1">
            <a:spLocks/>
          </p:cNvSpPr>
          <p:nvPr/>
        </p:nvSpPr>
        <p:spPr>
          <a:xfrm>
            <a:off x="501650" y="317500"/>
            <a:ext cx="11188700" cy="698501"/>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it-IT" dirty="0">
                <a:cs typeface="Calibri Light"/>
              </a:rPr>
              <a:t>APPLICAZIONE – User Interface</a:t>
            </a:r>
            <a:endParaRPr lang="en-US" dirty="0"/>
          </a:p>
        </p:txBody>
      </p:sp>
      <p:grpSp>
        <p:nvGrpSpPr>
          <p:cNvPr id="26" name="Group 25">
            <a:extLst>
              <a:ext uri="{FF2B5EF4-FFF2-40B4-BE49-F238E27FC236}">
                <a16:creationId xmlns:a16="http://schemas.microsoft.com/office/drawing/2014/main" id="{0B05350D-43A1-6EF0-EC52-0EB4D79F17C0}"/>
              </a:ext>
            </a:extLst>
          </p:cNvPr>
          <p:cNvGrpSpPr/>
          <p:nvPr/>
        </p:nvGrpSpPr>
        <p:grpSpPr>
          <a:xfrm>
            <a:off x="2431312" y="1368056"/>
            <a:ext cx="8064794" cy="4290237"/>
            <a:chOff x="2431312" y="1368056"/>
            <a:chExt cx="8064794" cy="4290237"/>
          </a:xfrm>
        </p:grpSpPr>
        <p:sp>
          <p:nvSpPr>
            <p:cNvPr id="2" name="Rectangle 1">
              <a:extLst>
                <a:ext uri="{FF2B5EF4-FFF2-40B4-BE49-F238E27FC236}">
                  <a16:creationId xmlns:a16="http://schemas.microsoft.com/office/drawing/2014/main" id="{1C07A1E3-BCC3-FA52-FEC0-837B726F0BE8}"/>
                </a:ext>
              </a:extLst>
            </p:cNvPr>
            <p:cNvSpPr/>
            <p:nvPr/>
          </p:nvSpPr>
          <p:spPr bwMode="gray">
            <a:xfrm>
              <a:off x="2431312" y="1368056"/>
              <a:ext cx="8064794" cy="4290237"/>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Rectangle 2">
              <a:extLst>
                <a:ext uri="{FF2B5EF4-FFF2-40B4-BE49-F238E27FC236}">
                  <a16:creationId xmlns:a16="http://schemas.microsoft.com/office/drawing/2014/main" id="{1BAEE523-B5FA-6D14-1ED1-3AF8EABE3D29}"/>
                </a:ext>
              </a:extLst>
            </p:cNvPr>
            <p:cNvSpPr/>
            <p:nvPr/>
          </p:nvSpPr>
          <p:spPr bwMode="gray">
            <a:xfrm>
              <a:off x="2742536" y="2574187"/>
              <a:ext cx="2970027" cy="228777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3">
              <a:extLst>
                <a:ext uri="{FF2B5EF4-FFF2-40B4-BE49-F238E27FC236}">
                  <a16:creationId xmlns:a16="http://schemas.microsoft.com/office/drawing/2014/main" id="{77581472-EB1A-90E6-0AFE-6E3487DF081A}"/>
                </a:ext>
              </a:extLst>
            </p:cNvPr>
            <p:cNvSpPr/>
            <p:nvPr/>
          </p:nvSpPr>
          <p:spPr bwMode="gray">
            <a:xfrm>
              <a:off x="6836070" y="2574185"/>
              <a:ext cx="3280143" cy="228777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TextBox 4">
              <a:extLst>
                <a:ext uri="{FF2B5EF4-FFF2-40B4-BE49-F238E27FC236}">
                  <a16:creationId xmlns:a16="http://schemas.microsoft.com/office/drawing/2014/main" id="{57DEF983-22F8-94C6-4102-D7EECB2C5DA0}"/>
                </a:ext>
              </a:extLst>
            </p:cNvPr>
            <p:cNvSpPr txBox="1"/>
            <p:nvPr/>
          </p:nvSpPr>
          <p:spPr>
            <a:xfrm>
              <a:off x="2773325" y="2206256"/>
              <a:ext cx="2932813" cy="18466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1200" dirty="0">
                  <a:solidFill>
                    <a:srgbClr val="313131"/>
                  </a:solidFill>
                  <a:cs typeface="Calibri Light"/>
                </a:rPr>
                <a:t>Folder: \backup</a:t>
              </a:r>
            </a:p>
          </p:txBody>
        </p:sp>
        <p:sp>
          <p:nvSpPr>
            <p:cNvPr id="6" name="TextBox 5">
              <a:extLst>
                <a:ext uri="{FF2B5EF4-FFF2-40B4-BE49-F238E27FC236}">
                  <a16:creationId xmlns:a16="http://schemas.microsoft.com/office/drawing/2014/main" id="{5058A25E-F8C3-66FF-2D64-02E8AAB0E472}"/>
                </a:ext>
              </a:extLst>
            </p:cNvPr>
            <p:cNvSpPr txBox="1"/>
            <p:nvPr/>
          </p:nvSpPr>
          <p:spPr>
            <a:xfrm>
              <a:off x="6884580" y="2206256"/>
              <a:ext cx="2932813" cy="18466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1200" dirty="0">
                  <a:solidFill>
                    <a:srgbClr val="313131"/>
                  </a:solidFill>
                  <a:cs typeface="Calibri Light"/>
                </a:rPr>
                <a:t>Folder: \</a:t>
              </a:r>
              <a:r>
                <a:rPr lang="en-US" sz="1200" dirty="0" err="1">
                  <a:solidFill>
                    <a:srgbClr val="313131"/>
                  </a:solidFill>
                  <a:cs typeface="Calibri Light"/>
                </a:rPr>
                <a:t>storico</a:t>
              </a:r>
              <a:r>
                <a:rPr lang="en-US" sz="1200" dirty="0">
                  <a:solidFill>
                    <a:srgbClr val="313131"/>
                  </a:solidFill>
                  <a:cs typeface="Calibri Light"/>
                </a:rPr>
                <a:t> backup</a:t>
              </a:r>
            </a:p>
          </p:txBody>
        </p:sp>
        <p:pic>
          <p:nvPicPr>
            <p:cNvPr id="8" name="Picture 7" descr="A picture containing text, clipart&#10;&#10;Description automatically generated">
              <a:extLst>
                <a:ext uri="{FF2B5EF4-FFF2-40B4-BE49-F238E27FC236}">
                  <a16:creationId xmlns:a16="http://schemas.microsoft.com/office/drawing/2014/main" id="{0AFBF9C7-D052-9396-554B-74B4F7B6BEC8}"/>
                </a:ext>
              </a:extLst>
            </p:cNvPr>
            <p:cNvPicPr>
              <a:picLocks noChangeAspect="1"/>
            </p:cNvPicPr>
            <p:nvPr/>
          </p:nvPicPr>
          <p:blipFill>
            <a:blip r:embed="rId2"/>
            <a:stretch>
              <a:fillRect/>
            </a:stretch>
          </p:blipFill>
          <p:spPr>
            <a:xfrm>
              <a:off x="7896206" y="1638123"/>
              <a:ext cx="1098054" cy="393690"/>
            </a:xfrm>
            <a:prstGeom prst="rect">
              <a:avLst/>
            </a:prstGeom>
          </p:spPr>
        </p:pic>
        <p:pic>
          <p:nvPicPr>
            <p:cNvPr id="9" name="Picture 9" descr="Shape&#10;&#10;Description automatically generated">
              <a:extLst>
                <a:ext uri="{FF2B5EF4-FFF2-40B4-BE49-F238E27FC236}">
                  <a16:creationId xmlns:a16="http://schemas.microsoft.com/office/drawing/2014/main" id="{A1B4C472-908C-F182-8112-40A5943E3D5D}"/>
                </a:ext>
              </a:extLst>
            </p:cNvPr>
            <p:cNvPicPr>
              <a:picLocks noChangeAspect="1"/>
            </p:cNvPicPr>
            <p:nvPr/>
          </p:nvPicPr>
          <p:blipFill>
            <a:blip r:embed="rId3"/>
            <a:stretch>
              <a:fillRect/>
            </a:stretch>
          </p:blipFill>
          <p:spPr>
            <a:xfrm>
              <a:off x="3879001" y="1486122"/>
              <a:ext cx="942975" cy="704850"/>
            </a:xfrm>
            <a:prstGeom prst="rect">
              <a:avLst/>
            </a:prstGeom>
          </p:spPr>
        </p:pic>
        <p:sp>
          <p:nvSpPr>
            <p:cNvPr id="10" name="Rectangle: Rounded Corners 9">
              <a:extLst>
                <a:ext uri="{FF2B5EF4-FFF2-40B4-BE49-F238E27FC236}">
                  <a16:creationId xmlns:a16="http://schemas.microsoft.com/office/drawing/2014/main" id="{2D431165-B5FD-0CDD-AA5B-7F6EB85477D1}"/>
                </a:ext>
              </a:extLst>
            </p:cNvPr>
            <p:cNvSpPr/>
            <p:nvPr/>
          </p:nvSpPr>
          <p:spPr bwMode="gray">
            <a:xfrm>
              <a:off x="5940055" y="3033823"/>
              <a:ext cx="737191" cy="294168"/>
            </a:xfrm>
            <a:prstGeom prst="round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11" name="Rectangle: Rounded Corners 10">
              <a:extLst>
                <a:ext uri="{FF2B5EF4-FFF2-40B4-BE49-F238E27FC236}">
                  <a16:creationId xmlns:a16="http://schemas.microsoft.com/office/drawing/2014/main" id="{462364C5-6279-C000-C85D-15F6282B1B6C}"/>
                </a:ext>
              </a:extLst>
            </p:cNvPr>
            <p:cNvSpPr/>
            <p:nvPr/>
          </p:nvSpPr>
          <p:spPr bwMode="gray">
            <a:xfrm>
              <a:off x="5940055" y="3778102"/>
              <a:ext cx="737191" cy="294168"/>
            </a:xfrm>
            <a:prstGeom prst="round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Arrow: Left 11">
              <a:extLst>
                <a:ext uri="{FF2B5EF4-FFF2-40B4-BE49-F238E27FC236}">
                  <a16:creationId xmlns:a16="http://schemas.microsoft.com/office/drawing/2014/main" id="{5A9840B8-72C6-D2A2-F18C-12062B08E7FC}"/>
                </a:ext>
              </a:extLst>
            </p:cNvPr>
            <p:cNvSpPr/>
            <p:nvPr/>
          </p:nvSpPr>
          <p:spPr bwMode="gray">
            <a:xfrm>
              <a:off x="6192693" y="3808023"/>
              <a:ext cx="234131" cy="254262"/>
            </a:xfrm>
            <a:prstGeom prst="leftArrow">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Arrow: Left 12">
              <a:extLst>
                <a:ext uri="{FF2B5EF4-FFF2-40B4-BE49-F238E27FC236}">
                  <a16:creationId xmlns:a16="http://schemas.microsoft.com/office/drawing/2014/main" id="{E94F7A01-0EEB-884D-AF1F-65A96735679E}"/>
                </a:ext>
              </a:extLst>
            </p:cNvPr>
            <p:cNvSpPr/>
            <p:nvPr/>
          </p:nvSpPr>
          <p:spPr bwMode="gray">
            <a:xfrm rot="10800000">
              <a:off x="6192693" y="3063743"/>
              <a:ext cx="234131" cy="254262"/>
            </a:xfrm>
            <a:prstGeom prst="leftArrow">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TextBox 16">
              <a:extLst>
                <a:ext uri="{FF2B5EF4-FFF2-40B4-BE49-F238E27FC236}">
                  <a16:creationId xmlns:a16="http://schemas.microsoft.com/office/drawing/2014/main" id="{3D0ED94D-1D05-F02F-EA73-92A3DCF93BE7}"/>
                </a:ext>
              </a:extLst>
            </p:cNvPr>
            <p:cNvSpPr txBox="1"/>
            <p:nvPr/>
          </p:nvSpPr>
          <p:spPr>
            <a:xfrm>
              <a:off x="2923953" y="2746744"/>
              <a:ext cx="2286000" cy="96949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lgn="l">
                <a:spcBef>
                  <a:spcPts val="600"/>
                </a:spcBef>
                <a:buSzPct val="100000"/>
                <a:buFont typeface="Wingdings"/>
                <a:buChar char="q"/>
              </a:pPr>
              <a:r>
                <a:rPr lang="en-US" sz="1200" dirty="0">
                  <a:solidFill>
                    <a:srgbClr val="313131"/>
                  </a:solidFill>
                  <a:cs typeface="Calibri Light"/>
                </a:rPr>
                <a:t>Database_20230115.</a:t>
              </a:r>
              <a:r>
                <a:rPr lang="en-US" sz="1200" dirty="0">
                  <a:solidFill>
                    <a:srgbClr val="313131"/>
                  </a:solidFill>
                  <a:ea typeface="+mn-lt"/>
                  <a:cs typeface="+mn-lt"/>
                </a:rPr>
                <a:t>backup</a:t>
              </a:r>
              <a:endParaRPr lang="en-US" sz="1200" dirty="0">
                <a:solidFill>
                  <a:srgbClr val="313131"/>
                </a:solidFill>
                <a:cs typeface="Calibri Light"/>
              </a:endParaRPr>
            </a:p>
            <a:p>
              <a:pPr marL="171450" indent="-171450">
                <a:spcBef>
                  <a:spcPts val="600"/>
                </a:spcBef>
                <a:buSzPct val="100000"/>
                <a:buFont typeface="Wingdings"/>
                <a:buChar char="q"/>
              </a:pPr>
              <a:r>
                <a:rPr lang="en-US" sz="1200" dirty="0">
                  <a:solidFill>
                    <a:srgbClr val="313131"/>
                  </a:solidFill>
                  <a:cs typeface="Calibri Light"/>
                </a:rPr>
                <a:t>Database_20230131.backup</a:t>
              </a:r>
            </a:p>
            <a:p>
              <a:pPr marL="171450" indent="-171450">
                <a:spcBef>
                  <a:spcPts val="600"/>
                </a:spcBef>
                <a:buSzPct val="100000"/>
                <a:buFont typeface="Wingdings"/>
                <a:buChar char="q"/>
              </a:pPr>
              <a:r>
                <a:rPr lang="en-US" sz="1200" dirty="0">
                  <a:solidFill>
                    <a:srgbClr val="313131"/>
                  </a:solidFill>
                  <a:ea typeface="+mn-lt"/>
                  <a:cs typeface="+mn-lt"/>
                </a:rPr>
                <a:t>Database_20230215.backup</a:t>
              </a:r>
            </a:p>
            <a:p>
              <a:pPr marL="171450" indent="-171450">
                <a:spcBef>
                  <a:spcPts val="600"/>
                </a:spcBef>
                <a:buSzPct val="100000"/>
                <a:buFont typeface="Wingdings"/>
                <a:buChar char="q"/>
              </a:pPr>
              <a:endParaRPr lang="en-US" sz="1200" dirty="0">
                <a:solidFill>
                  <a:srgbClr val="313131"/>
                </a:solidFill>
                <a:cs typeface="Calibri Light"/>
              </a:endParaRPr>
            </a:p>
          </p:txBody>
        </p:sp>
        <p:sp>
          <p:nvSpPr>
            <p:cNvPr id="20" name="TextBox 19">
              <a:extLst>
                <a:ext uri="{FF2B5EF4-FFF2-40B4-BE49-F238E27FC236}">
                  <a16:creationId xmlns:a16="http://schemas.microsoft.com/office/drawing/2014/main" id="{FD7FA5C6-1BF9-09D8-7DE2-DF831B77D1B4}"/>
                </a:ext>
              </a:extLst>
            </p:cNvPr>
            <p:cNvSpPr txBox="1"/>
            <p:nvPr/>
          </p:nvSpPr>
          <p:spPr>
            <a:xfrm>
              <a:off x="6982046" y="2746743"/>
              <a:ext cx="3136604" cy="70788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lgn="l">
                <a:spcBef>
                  <a:spcPts val="600"/>
                </a:spcBef>
                <a:buSzPct val="100000"/>
                <a:buFont typeface="Wingdings"/>
                <a:buChar char="q"/>
              </a:pPr>
              <a:r>
                <a:rPr lang="en-US" sz="1200" dirty="0">
                  <a:solidFill>
                    <a:srgbClr val="313131"/>
                  </a:solidFill>
                  <a:cs typeface="Calibri Light"/>
                </a:rPr>
                <a:t>Database_20230131.</a:t>
              </a:r>
              <a:r>
                <a:rPr lang="en-US" sz="1200" dirty="0">
                  <a:solidFill>
                    <a:srgbClr val="313131"/>
                  </a:solidFill>
                  <a:ea typeface="+mn-lt"/>
                  <a:cs typeface="+mn-lt"/>
                </a:rPr>
                <a:t>backup_20230205</a:t>
              </a:r>
              <a:endParaRPr lang="en-US" sz="1200" dirty="0">
                <a:solidFill>
                  <a:srgbClr val="313131"/>
                </a:solidFill>
                <a:cs typeface="Calibri Light"/>
              </a:endParaRPr>
            </a:p>
            <a:p>
              <a:pPr marL="171450" indent="-171450">
                <a:spcBef>
                  <a:spcPts val="600"/>
                </a:spcBef>
                <a:buSzPct val="100000"/>
                <a:buFont typeface="Wingdings"/>
                <a:buChar char="q"/>
              </a:pPr>
              <a:endParaRPr lang="en-US" sz="1200" dirty="0">
                <a:solidFill>
                  <a:srgbClr val="313131"/>
                </a:solidFill>
                <a:ea typeface="+mn-lt"/>
                <a:cs typeface="+mn-lt"/>
              </a:endParaRPr>
            </a:p>
            <a:p>
              <a:pPr marL="171450" indent="-171450">
                <a:spcBef>
                  <a:spcPts val="600"/>
                </a:spcBef>
                <a:buSzPct val="100000"/>
                <a:buFont typeface="Wingdings"/>
                <a:buChar char="q"/>
              </a:pPr>
              <a:endParaRPr lang="en-US" sz="1200" dirty="0">
                <a:solidFill>
                  <a:srgbClr val="313131"/>
                </a:solidFill>
                <a:cs typeface="Calibri Light"/>
              </a:endParaRPr>
            </a:p>
          </p:txBody>
        </p:sp>
        <p:grpSp>
          <p:nvGrpSpPr>
            <p:cNvPr id="24" name="Group 592">
              <a:extLst>
                <a:ext uri="{FF2B5EF4-FFF2-40B4-BE49-F238E27FC236}">
                  <a16:creationId xmlns:a16="http://schemas.microsoft.com/office/drawing/2014/main" id="{49DA2D46-2B77-F910-946E-CD02A29449D6}"/>
                </a:ext>
              </a:extLst>
            </p:cNvPr>
            <p:cNvGrpSpPr>
              <a:grpSpLocks noChangeAspect="1"/>
            </p:cNvGrpSpPr>
            <p:nvPr/>
          </p:nvGrpSpPr>
          <p:grpSpPr bwMode="auto">
            <a:xfrm>
              <a:off x="2890399" y="2982337"/>
              <a:ext cx="202415" cy="165885"/>
              <a:chOff x="373" y="1933"/>
              <a:chExt cx="341" cy="340"/>
            </a:xfrm>
            <a:solidFill>
              <a:schemeClr val="accent6"/>
            </a:solidFill>
          </p:grpSpPr>
          <p:sp>
            <p:nvSpPr>
              <p:cNvPr id="22" name="Freeform 693">
                <a:extLst>
                  <a:ext uri="{FF2B5EF4-FFF2-40B4-BE49-F238E27FC236}">
                    <a16:creationId xmlns:a16="http://schemas.microsoft.com/office/drawing/2014/main" id="{195BCF20-29FF-EAB3-555E-9B79E8990723}"/>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rgbClr val="FF0000"/>
              </a:solidFill>
              <a:ln w="12700">
                <a:solidFill>
                  <a:srgbClr val="FF0000"/>
                </a:solid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23" name="Freeform 694">
                <a:extLst>
                  <a:ext uri="{FF2B5EF4-FFF2-40B4-BE49-F238E27FC236}">
                    <a16:creationId xmlns:a16="http://schemas.microsoft.com/office/drawing/2014/main" id="{6EE3BEF8-186C-9914-2FFA-25A74671C963}"/>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FF0000"/>
              </a:solidFill>
              <a:ln w="12700">
                <a:solidFill>
                  <a:srgbClr val="FF0000"/>
                </a:solid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spTree>
    <p:extLst>
      <p:ext uri="{BB962C8B-B14F-4D97-AF65-F5344CB8AC3E}">
        <p14:creationId xmlns:p14="http://schemas.microsoft.com/office/powerpoint/2010/main" val="339995793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0640C8A4-F159-DEB7-F97A-AF1AA80371A3}"/>
              </a:ext>
            </a:extLst>
          </p:cNvPr>
          <p:cNvSpPr>
            <a:spLocks noGrp="1"/>
          </p:cNvSpPr>
          <p:nvPr>
            <p:ph type="title"/>
          </p:nvPr>
        </p:nvSpPr>
        <p:spPr>
          <a:xfrm>
            <a:off x="501650" y="116953"/>
            <a:ext cx="11188700" cy="698501"/>
          </a:xfrm>
        </p:spPr>
        <p:txBody>
          <a:bodyPr/>
          <a:lstStyle/>
          <a:p>
            <a:r>
              <a:rPr lang="it-IT" dirty="0">
                <a:cs typeface="Calibri Light"/>
              </a:rPr>
              <a:t>I passaggi per l'invio di informazioni da AWS a CUBBIT </a:t>
            </a: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b="1" dirty="0" err="1"/>
              <a:t>Passo</a:t>
            </a:r>
            <a:r>
              <a:rPr lang="en-US" dirty="0"/>
              <a:t> 5</a:t>
            </a:r>
          </a:p>
        </p:txBody>
      </p:sp>
      <p:pic>
        <p:nvPicPr>
          <p:cNvPr id="3" name="Picture 2">
            <a:extLst>
              <a:ext uri="{FF2B5EF4-FFF2-40B4-BE49-F238E27FC236}">
                <a16:creationId xmlns:a16="http://schemas.microsoft.com/office/drawing/2014/main" id="{3357DA11-3EF5-1B82-A83F-C8890015FF65}"/>
              </a:ext>
            </a:extLst>
          </p:cNvPr>
          <p:cNvPicPr>
            <a:picLocks noChangeAspect="1"/>
          </p:cNvPicPr>
          <p:nvPr/>
        </p:nvPicPr>
        <p:blipFill>
          <a:blip r:embed="rId5"/>
          <a:stretch>
            <a:fillRect/>
          </a:stretch>
        </p:blipFill>
        <p:spPr>
          <a:xfrm>
            <a:off x="2283318" y="815454"/>
            <a:ext cx="8359697" cy="5248535"/>
          </a:xfrm>
          <a:prstGeom prst="rect">
            <a:avLst/>
          </a:prstGeom>
        </p:spPr>
      </p:pic>
    </p:spTree>
    <p:custDataLst>
      <p:custData r:id="rId1"/>
      <p:custData r:id="rId2"/>
    </p:custDataLst>
    <p:extLst>
      <p:ext uri="{BB962C8B-B14F-4D97-AF65-F5344CB8AC3E}">
        <p14:creationId xmlns:p14="http://schemas.microsoft.com/office/powerpoint/2010/main" val="207249651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0640C8A4-F159-DEB7-F97A-AF1AA80371A3}"/>
              </a:ext>
            </a:extLst>
          </p:cNvPr>
          <p:cNvSpPr>
            <a:spLocks noGrp="1"/>
          </p:cNvSpPr>
          <p:nvPr>
            <p:ph type="title"/>
          </p:nvPr>
        </p:nvSpPr>
        <p:spPr>
          <a:xfrm>
            <a:off x="501650" y="116953"/>
            <a:ext cx="11188700" cy="698501"/>
          </a:xfrm>
        </p:spPr>
        <p:txBody>
          <a:bodyPr/>
          <a:lstStyle/>
          <a:p>
            <a:r>
              <a:rPr lang="it-IT" dirty="0">
                <a:cs typeface="Calibri Light"/>
              </a:rPr>
              <a:t>I passaggi per l'invio di informazioni da AWS a CUBBIT </a:t>
            </a: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b="1" dirty="0" err="1"/>
              <a:t>Passo</a:t>
            </a:r>
            <a:r>
              <a:rPr lang="en-US" dirty="0"/>
              <a:t> 6</a:t>
            </a:r>
          </a:p>
        </p:txBody>
      </p:sp>
      <p:pic>
        <p:nvPicPr>
          <p:cNvPr id="4" name="Picture 3">
            <a:extLst>
              <a:ext uri="{FF2B5EF4-FFF2-40B4-BE49-F238E27FC236}">
                <a16:creationId xmlns:a16="http://schemas.microsoft.com/office/drawing/2014/main" id="{E7812E98-D588-4A78-94BC-3219F87263DE}"/>
              </a:ext>
            </a:extLst>
          </p:cNvPr>
          <p:cNvPicPr>
            <a:picLocks noChangeAspect="1"/>
          </p:cNvPicPr>
          <p:nvPr/>
        </p:nvPicPr>
        <p:blipFill>
          <a:blip r:embed="rId5"/>
          <a:stretch>
            <a:fillRect/>
          </a:stretch>
        </p:blipFill>
        <p:spPr>
          <a:xfrm>
            <a:off x="2039504" y="888990"/>
            <a:ext cx="8963276" cy="5080020"/>
          </a:xfrm>
          <a:prstGeom prst="rect">
            <a:avLst/>
          </a:prstGeom>
        </p:spPr>
      </p:pic>
    </p:spTree>
    <p:custDataLst>
      <p:custData r:id="rId1"/>
      <p:custData r:id="rId2"/>
    </p:custDataLst>
    <p:extLst>
      <p:ext uri="{BB962C8B-B14F-4D97-AF65-F5344CB8AC3E}">
        <p14:creationId xmlns:p14="http://schemas.microsoft.com/office/powerpoint/2010/main" val="85099039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0640C8A4-F159-DEB7-F97A-AF1AA80371A3}"/>
              </a:ext>
            </a:extLst>
          </p:cNvPr>
          <p:cNvSpPr>
            <a:spLocks noGrp="1"/>
          </p:cNvSpPr>
          <p:nvPr>
            <p:ph type="title"/>
          </p:nvPr>
        </p:nvSpPr>
        <p:spPr>
          <a:xfrm>
            <a:off x="501650" y="116953"/>
            <a:ext cx="11188700" cy="698501"/>
          </a:xfrm>
        </p:spPr>
        <p:txBody>
          <a:bodyPr/>
          <a:lstStyle/>
          <a:p>
            <a:r>
              <a:rPr lang="it-IT" dirty="0">
                <a:cs typeface="Calibri Light"/>
              </a:rPr>
              <a:t>I passaggi per l'invio di informazioni da AWS a CUBBIT </a:t>
            </a: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b="1" dirty="0" err="1"/>
              <a:t>Passo</a:t>
            </a:r>
            <a:r>
              <a:rPr lang="en-US" dirty="0"/>
              <a:t> 8</a:t>
            </a:r>
          </a:p>
        </p:txBody>
      </p:sp>
      <p:pic>
        <p:nvPicPr>
          <p:cNvPr id="3" name="Picture 2">
            <a:extLst>
              <a:ext uri="{FF2B5EF4-FFF2-40B4-BE49-F238E27FC236}">
                <a16:creationId xmlns:a16="http://schemas.microsoft.com/office/drawing/2014/main" id="{7B185880-243D-D59A-D3EA-5F21B377A275}"/>
              </a:ext>
            </a:extLst>
          </p:cNvPr>
          <p:cNvPicPr>
            <a:picLocks noChangeAspect="1"/>
          </p:cNvPicPr>
          <p:nvPr/>
        </p:nvPicPr>
        <p:blipFill>
          <a:blip r:embed="rId5"/>
          <a:stretch>
            <a:fillRect/>
          </a:stretch>
        </p:blipFill>
        <p:spPr>
          <a:xfrm>
            <a:off x="1846471" y="916638"/>
            <a:ext cx="9036387" cy="5135743"/>
          </a:xfrm>
          <a:prstGeom prst="rect">
            <a:avLst/>
          </a:prstGeom>
        </p:spPr>
      </p:pic>
    </p:spTree>
    <p:custDataLst>
      <p:custData r:id="rId1"/>
      <p:custData r:id="rId2"/>
    </p:custDataLst>
    <p:extLst>
      <p:ext uri="{BB962C8B-B14F-4D97-AF65-F5344CB8AC3E}">
        <p14:creationId xmlns:p14="http://schemas.microsoft.com/office/powerpoint/2010/main" val="306554672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6C1B41-02FD-584A-AC63-60E3A80FD66B}"/>
              </a:ext>
            </a:extLst>
          </p:cNvPr>
          <p:cNvSpPr>
            <a:spLocks noGrp="1"/>
          </p:cNvSpPr>
          <p:nvPr>
            <p:ph type="body" sz="quarter" idx="13"/>
          </p:nvPr>
        </p:nvSpPr>
        <p:spPr/>
        <p:txBody>
          <a:bodyPr/>
          <a:lstStyle/>
          <a:p>
            <a:r>
              <a:rPr lang="en-GB" sz="1050"/>
              <a:t> </a:t>
            </a:r>
          </a:p>
          <a:p>
            <a:r>
              <a:rPr lang="en-GB" sz="1050"/>
              <a:t>Deloitte refers to one or more of Deloitte </a:t>
            </a:r>
            <a:r>
              <a:rPr lang="en-GB" sz="1050" err="1"/>
              <a:t>Touche</a:t>
            </a:r>
            <a:r>
              <a:rPr lang="en-GB" sz="1050"/>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GB" sz="1050">
                <a:hlinkClick r:id="rId5"/>
              </a:rPr>
              <a:t>www.deloitte.com/about</a:t>
            </a:r>
            <a:r>
              <a:rPr lang="en-GB" sz="1050"/>
              <a:t> to learn more.</a:t>
            </a:r>
          </a:p>
          <a:p>
            <a:endParaRPr lang="en-GB" sz="1050"/>
          </a:p>
          <a:p>
            <a:r>
              <a:rPr lang="en-GB" sz="1050"/>
              <a:t>© 2021. For information, contact Deloitte </a:t>
            </a:r>
            <a:r>
              <a:rPr lang="en-GB" sz="1050" err="1"/>
              <a:t>Touche</a:t>
            </a:r>
            <a:r>
              <a:rPr lang="en-GB" sz="1050"/>
              <a:t> Tohmatsu Limited.</a:t>
            </a:r>
          </a:p>
        </p:txBody>
      </p:sp>
      <p:sp>
        <p:nvSpPr>
          <p:cNvPr id="4" name="Text Placeholder 3">
            <a:extLst>
              <a:ext uri="{FF2B5EF4-FFF2-40B4-BE49-F238E27FC236}">
                <a16:creationId xmlns:a16="http://schemas.microsoft.com/office/drawing/2014/main" id="{F27D9DDA-126F-3B49-9994-8C0D2F29211B}"/>
              </a:ext>
            </a:extLst>
          </p:cNvPr>
          <p:cNvSpPr>
            <a:spLocks noGrp="1"/>
          </p:cNvSpPr>
          <p:nvPr>
            <p:ph type="body" sz="quarter" idx="15"/>
          </p:nvPr>
        </p:nvSpPr>
        <p:spPr/>
        <p:txBody>
          <a:bodyPr/>
          <a:lstStyle/>
          <a:p>
            <a:endParaRPr lang="it-IT"/>
          </a:p>
          <a:p>
            <a:endParaRPr lang="en-ES"/>
          </a:p>
        </p:txBody>
      </p:sp>
      <p:sp>
        <p:nvSpPr>
          <p:cNvPr id="6" name="Rectangle 28">
            <a:extLst>
              <a:ext uri="{FF2B5EF4-FFF2-40B4-BE49-F238E27FC236}">
                <a16:creationId xmlns:a16="http://schemas.microsoft.com/office/drawing/2014/main" id="{1876D8B9-0C90-48B8-BC5E-1FB6F492A8D3}"/>
              </a:ext>
            </a:extLst>
          </p:cNvPr>
          <p:cNvSpPr>
            <a:spLocks noChangeArrowheads="1"/>
          </p:cNvSpPr>
          <p:nvPr/>
        </p:nvSpPr>
        <p:spPr bwMode="auto">
          <a:xfrm>
            <a:off x="672286" y="159439"/>
            <a:ext cx="282129" cy="174728"/>
          </a:xfrm>
          <a:prstGeom prst="rect">
            <a:avLst/>
          </a:prstGeom>
          <a:noFill/>
          <a:ln w="12700">
            <a:noFill/>
            <a:miter lim="800000"/>
            <a:headEnd/>
            <a:tailEnd/>
          </a:ln>
        </p:spPr>
        <p:txBody>
          <a:bodyPr wrap="none" lIns="0" tIns="0" rIns="0" bIns="0">
            <a:spAutoFit/>
          </a:bodyPr>
          <a:lstStyle/>
          <a:p>
            <a:pPr defTabSz="202283">
              <a:lnSpc>
                <a:spcPct val="95000"/>
              </a:lnSpc>
            </a:pPr>
            <a:r>
              <a:rPr lang="en-US" sz="1195">
                <a:ea typeface="MS PGothic" pitchFamily="34" charset="-128"/>
              </a:rPr>
              <a:t>Italy</a:t>
            </a:r>
          </a:p>
        </p:txBody>
      </p:sp>
    </p:spTree>
    <p:custDataLst>
      <p:custData r:id="rId1"/>
      <p:custData r:id="rId2"/>
      <p:tags r:id="rId3"/>
    </p:custDataLst>
    <p:extLst>
      <p:ext uri="{BB962C8B-B14F-4D97-AF65-F5344CB8AC3E}">
        <p14:creationId xmlns:p14="http://schemas.microsoft.com/office/powerpoint/2010/main" val="22392656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E2EA37B7-AAF6-4879-AC75-AFB17DC01CB2}"/>
              </a:ext>
            </a:extLst>
          </p:cNvPr>
          <p:cNvGraphicFramePr/>
          <p:nvPr>
            <p:extLst>
              <p:ext uri="{D42A27DB-BD31-4B8C-83A1-F6EECF244321}">
                <p14:modId xmlns:p14="http://schemas.microsoft.com/office/powerpoint/2010/main" val="2506400622"/>
              </p:ext>
            </p:extLst>
          </p:nvPr>
        </p:nvGraphicFramePr>
        <p:xfrm>
          <a:off x="591787" y="130628"/>
          <a:ext cx="11008426" cy="43582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itle 2">
            <a:extLst>
              <a:ext uri="{FF2B5EF4-FFF2-40B4-BE49-F238E27FC236}">
                <a16:creationId xmlns:a16="http://schemas.microsoft.com/office/drawing/2014/main" id="{2F4BC1B0-102D-4090-902E-809867B868F2}"/>
              </a:ext>
            </a:extLst>
          </p:cNvPr>
          <p:cNvSpPr txBox="1">
            <a:spLocks/>
          </p:cNvSpPr>
          <p:nvPr/>
        </p:nvSpPr>
        <p:spPr>
          <a:xfrm>
            <a:off x="501650" y="317500"/>
            <a:ext cx="11188700" cy="698501"/>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it-IT" dirty="0">
                <a:cs typeface="Calibri Light"/>
              </a:rPr>
              <a:t>APPLICAZIONE - Workflow</a:t>
            </a:r>
            <a:endParaRPr lang="en-US" dirty="0"/>
          </a:p>
        </p:txBody>
      </p:sp>
      <p:sp>
        <p:nvSpPr>
          <p:cNvPr id="4" name="Title 2">
            <a:extLst>
              <a:ext uri="{FF2B5EF4-FFF2-40B4-BE49-F238E27FC236}">
                <a16:creationId xmlns:a16="http://schemas.microsoft.com/office/drawing/2014/main" id="{2ACD62D0-839A-4A5A-9711-271A568F99AA}"/>
              </a:ext>
            </a:extLst>
          </p:cNvPr>
          <p:cNvSpPr txBox="1">
            <a:spLocks/>
          </p:cNvSpPr>
          <p:nvPr/>
        </p:nvSpPr>
        <p:spPr>
          <a:xfrm>
            <a:off x="501650" y="1016001"/>
            <a:ext cx="11188700" cy="698501"/>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it-IT" dirty="0">
                <a:cs typeface="Calibri Light"/>
              </a:rPr>
              <a:t>UC 1: TRASFERIMENTO FILE DA AWS A CUBBIT</a:t>
            </a:r>
            <a:endParaRPr lang="en-US" dirty="0">
              <a:cs typeface="Calibri Light"/>
            </a:endParaRPr>
          </a:p>
        </p:txBody>
      </p:sp>
      <p:graphicFrame>
        <p:nvGraphicFramePr>
          <p:cNvPr id="5" name="Table 5">
            <a:extLst>
              <a:ext uri="{FF2B5EF4-FFF2-40B4-BE49-F238E27FC236}">
                <a16:creationId xmlns:a16="http://schemas.microsoft.com/office/drawing/2014/main" id="{CE9DB6AA-529F-4C8E-A28B-481564E864A9}"/>
              </a:ext>
            </a:extLst>
          </p:cNvPr>
          <p:cNvGraphicFramePr>
            <a:graphicFrameLocks noGrp="1"/>
          </p:cNvGraphicFramePr>
          <p:nvPr>
            <p:extLst>
              <p:ext uri="{D42A27DB-BD31-4B8C-83A1-F6EECF244321}">
                <p14:modId xmlns:p14="http://schemas.microsoft.com/office/powerpoint/2010/main" val="2103375369"/>
              </p:ext>
            </p:extLst>
          </p:nvPr>
        </p:nvGraphicFramePr>
        <p:xfrm>
          <a:off x="501650" y="3497431"/>
          <a:ext cx="8127999" cy="128016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3510912573"/>
                    </a:ext>
                  </a:extLst>
                </a:gridCol>
                <a:gridCol w="2709333">
                  <a:extLst>
                    <a:ext uri="{9D8B030D-6E8A-4147-A177-3AD203B41FA5}">
                      <a16:colId xmlns:a16="http://schemas.microsoft.com/office/drawing/2014/main" val="3048296827"/>
                    </a:ext>
                  </a:extLst>
                </a:gridCol>
                <a:gridCol w="2709333">
                  <a:extLst>
                    <a:ext uri="{9D8B030D-6E8A-4147-A177-3AD203B41FA5}">
                      <a16:colId xmlns:a16="http://schemas.microsoft.com/office/drawing/2014/main" val="1962071745"/>
                    </a:ext>
                  </a:extLst>
                </a:gridCol>
              </a:tblGrid>
              <a:tr h="357914">
                <a:tc>
                  <a:txBody>
                    <a:bodyPr/>
                    <a:lstStyle/>
                    <a:p>
                      <a:r>
                        <a:rPr lang="it-IT" dirty="0"/>
                        <a:t>REGION</a:t>
                      </a:r>
                      <a:endParaRPr lang="en-US" dirty="0"/>
                    </a:p>
                  </a:txBody>
                  <a:tcPr/>
                </a:tc>
                <a:tc>
                  <a:txBody>
                    <a:bodyPr/>
                    <a:lstStyle/>
                    <a:p>
                      <a:r>
                        <a:rPr lang="it-IT" dirty="0"/>
                        <a:t>ENDPOINT</a:t>
                      </a:r>
                      <a:endParaRPr lang="en-US" dirty="0"/>
                    </a:p>
                  </a:txBody>
                  <a:tcPr/>
                </a:tc>
                <a:tc>
                  <a:txBody>
                    <a:bodyPr/>
                    <a:lstStyle/>
                    <a:p>
                      <a:r>
                        <a:rPr lang="it-IT" dirty="0"/>
                        <a:t>PROTOCOL</a:t>
                      </a:r>
                      <a:endParaRPr lang="en-US" dirty="0"/>
                    </a:p>
                  </a:txBody>
                  <a:tcPr/>
                </a:tc>
                <a:extLst>
                  <a:ext uri="{0D108BD9-81ED-4DB2-BD59-A6C34878D82A}">
                    <a16:rowId xmlns:a16="http://schemas.microsoft.com/office/drawing/2014/main" val="2370223243"/>
                  </a:ext>
                </a:extLst>
              </a:tr>
              <a:tr h="894785">
                <a:tc>
                  <a:txBody>
                    <a:bodyPr/>
                    <a:lstStyle/>
                    <a:p>
                      <a:r>
                        <a:rPr lang="en-US" sz="1800" b="0" i="0" kern="1200" dirty="0">
                          <a:solidFill>
                            <a:schemeClr val="dk1"/>
                          </a:solidFill>
                          <a:effectLst/>
                          <a:latin typeface="+mn-lt"/>
                          <a:ea typeface="+mn-ea"/>
                          <a:cs typeface="+mn-cs"/>
                        </a:rPr>
                        <a:t>eu-central-1</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rgbClr val="FF0000"/>
                          </a:solidFill>
                          <a:effectLst/>
                          <a:latin typeface="+mn-lt"/>
                          <a:ea typeface="+mn-ea"/>
                          <a:cs typeface="+mn-cs"/>
                        </a:rPr>
                        <a:t>account-id</a:t>
                      </a:r>
                      <a:r>
                        <a:rPr lang="en-US" sz="1800" b="0" i="0" kern="1200" dirty="0">
                          <a:solidFill>
                            <a:schemeClr val="dk1"/>
                          </a:solidFill>
                          <a:effectLst/>
                          <a:latin typeface="+mn-lt"/>
                          <a:ea typeface="+mn-ea"/>
                          <a:cs typeface="+mn-cs"/>
                        </a:rPr>
                        <a:t>.s3-control.eu-central-1.amazonaws.com</a:t>
                      </a:r>
                    </a:p>
                    <a:p>
                      <a:endParaRPr lang="en-US" dirty="0"/>
                    </a:p>
                  </a:txBody>
                  <a:tcPr/>
                </a:tc>
                <a:tc>
                  <a:txBody>
                    <a:bodyPr/>
                    <a:lstStyle/>
                    <a:p>
                      <a:r>
                        <a:rPr lang="en-US" sz="1800" b="0" i="0" kern="1200" dirty="0">
                          <a:solidFill>
                            <a:schemeClr val="dk1"/>
                          </a:solidFill>
                          <a:effectLst/>
                          <a:latin typeface="+mn-lt"/>
                          <a:ea typeface="+mn-ea"/>
                          <a:cs typeface="+mn-cs"/>
                        </a:rPr>
                        <a:t>HTTP and HTTPS</a:t>
                      </a:r>
                      <a:endParaRPr lang="en-US" dirty="0"/>
                    </a:p>
                  </a:txBody>
                  <a:tcPr/>
                </a:tc>
                <a:extLst>
                  <a:ext uri="{0D108BD9-81ED-4DB2-BD59-A6C34878D82A}">
                    <a16:rowId xmlns:a16="http://schemas.microsoft.com/office/drawing/2014/main" val="490786796"/>
                  </a:ext>
                </a:extLst>
              </a:tr>
            </a:tbl>
          </a:graphicData>
        </a:graphic>
      </p:graphicFrame>
      <p:graphicFrame>
        <p:nvGraphicFramePr>
          <p:cNvPr id="6" name="Table 5">
            <a:extLst>
              <a:ext uri="{FF2B5EF4-FFF2-40B4-BE49-F238E27FC236}">
                <a16:creationId xmlns:a16="http://schemas.microsoft.com/office/drawing/2014/main" id="{ECE19C6E-7235-4495-95C4-3A34154E7F50}"/>
              </a:ext>
            </a:extLst>
          </p:cNvPr>
          <p:cNvGraphicFramePr>
            <a:graphicFrameLocks noGrp="1"/>
          </p:cNvGraphicFramePr>
          <p:nvPr>
            <p:extLst>
              <p:ext uri="{D42A27DB-BD31-4B8C-83A1-F6EECF244321}">
                <p14:modId xmlns:p14="http://schemas.microsoft.com/office/powerpoint/2010/main" val="3780993229"/>
              </p:ext>
            </p:extLst>
          </p:nvPr>
        </p:nvGraphicFramePr>
        <p:xfrm>
          <a:off x="501649" y="5230640"/>
          <a:ext cx="8127999" cy="1166967"/>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3510912573"/>
                    </a:ext>
                  </a:extLst>
                </a:gridCol>
                <a:gridCol w="2709333">
                  <a:extLst>
                    <a:ext uri="{9D8B030D-6E8A-4147-A177-3AD203B41FA5}">
                      <a16:colId xmlns:a16="http://schemas.microsoft.com/office/drawing/2014/main" val="3048296827"/>
                    </a:ext>
                  </a:extLst>
                </a:gridCol>
                <a:gridCol w="2709333">
                  <a:extLst>
                    <a:ext uri="{9D8B030D-6E8A-4147-A177-3AD203B41FA5}">
                      <a16:colId xmlns:a16="http://schemas.microsoft.com/office/drawing/2014/main" val="1962071745"/>
                    </a:ext>
                  </a:extLst>
                </a:gridCol>
              </a:tblGrid>
              <a:tr h="253472">
                <a:tc>
                  <a:txBody>
                    <a:bodyPr/>
                    <a:lstStyle/>
                    <a:p>
                      <a:r>
                        <a:rPr lang="it-IT" dirty="0"/>
                        <a:t>REGION</a:t>
                      </a:r>
                      <a:endParaRPr lang="en-US" dirty="0"/>
                    </a:p>
                  </a:txBody>
                  <a:tcPr/>
                </a:tc>
                <a:tc>
                  <a:txBody>
                    <a:bodyPr/>
                    <a:lstStyle/>
                    <a:p>
                      <a:r>
                        <a:rPr lang="it-IT" dirty="0"/>
                        <a:t>ENDPOINT</a:t>
                      </a:r>
                      <a:endParaRPr lang="en-US" dirty="0"/>
                    </a:p>
                  </a:txBody>
                  <a:tcPr/>
                </a:tc>
                <a:tc>
                  <a:txBody>
                    <a:bodyPr/>
                    <a:lstStyle/>
                    <a:p>
                      <a:r>
                        <a:rPr lang="it-IT" dirty="0"/>
                        <a:t>PROTOCOL</a:t>
                      </a:r>
                      <a:endParaRPr lang="en-US" dirty="0"/>
                    </a:p>
                  </a:txBody>
                  <a:tcPr/>
                </a:tc>
                <a:extLst>
                  <a:ext uri="{0D108BD9-81ED-4DB2-BD59-A6C34878D82A}">
                    <a16:rowId xmlns:a16="http://schemas.microsoft.com/office/drawing/2014/main" val="2370223243"/>
                  </a:ext>
                </a:extLst>
              </a:tr>
              <a:tr h="801207">
                <a:tc>
                  <a:txBody>
                    <a:bodyPr/>
                    <a:lstStyle/>
                    <a:p>
                      <a:r>
                        <a:rPr lang="en-US" sz="1800" b="0" i="0" kern="1200" dirty="0" err="1">
                          <a:solidFill>
                            <a:schemeClr val="dk1"/>
                          </a:solidFill>
                          <a:effectLst/>
                          <a:latin typeface="+mn-lt"/>
                          <a:ea typeface="+mn-ea"/>
                          <a:cs typeface="+mn-cs"/>
                        </a:rPr>
                        <a:t>eu</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chemeClr val="dk1"/>
                          </a:solidFill>
                          <a:effectLst/>
                          <a:latin typeface="+mn-lt"/>
                          <a:ea typeface="+mn-ea"/>
                          <a:cs typeface="+mn-cs"/>
                        </a:rPr>
                        <a:t>https://s3.cubbit.eu</a:t>
                      </a:r>
                    </a:p>
                    <a:p>
                      <a:endParaRPr lang="en-US" dirty="0"/>
                    </a:p>
                  </a:txBody>
                  <a:tcPr/>
                </a:tc>
                <a:tc>
                  <a:txBody>
                    <a:bodyPr/>
                    <a:lstStyle/>
                    <a:p>
                      <a:r>
                        <a:rPr lang="en-US" sz="1800" b="0" i="0" kern="1200" dirty="0">
                          <a:solidFill>
                            <a:schemeClr val="dk1"/>
                          </a:solidFill>
                          <a:effectLst/>
                          <a:latin typeface="+mn-lt"/>
                          <a:ea typeface="+mn-ea"/>
                          <a:cs typeface="+mn-cs"/>
                        </a:rPr>
                        <a:t>HTTP and HTTPS</a:t>
                      </a:r>
                      <a:endParaRPr lang="en-US" dirty="0"/>
                    </a:p>
                  </a:txBody>
                  <a:tcPr/>
                </a:tc>
                <a:extLst>
                  <a:ext uri="{0D108BD9-81ED-4DB2-BD59-A6C34878D82A}">
                    <a16:rowId xmlns:a16="http://schemas.microsoft.com/office/drawing/2014/main" val="490786796"/>
                  </a:ext>
                </a:extLst>
              </a:tr>
            </a:tbl>
          </a:graphicData>
        </a:graphic>
      </p:graphicFrame>
      <p:sp>
        <p:nvSpPr>
          <p:cNvPr id="7" name="Title 2">
            <a:extLst>
              <a:ext uri="{FF2B5EF4-FFF2-40B4-BE49-F238E27FC236}">
                <a16:creationId xmlns:a16="http://schemas.microsoft.com/office/drawing/2014/main" id="{4797B74B-B446-467B-94BE-3EBD7FB1F2F8}"/>
              </a:ext>
            </a:extLst>
          </p:cNvPr>
          <p:cNvSpPr txBox="1">
            <a:spLocks/>
          </p:cNvSpPr>
          <p:nvPr/>
        </p:nvSpPr>
        <p:spPr>
          <a:xfrm>
            <a:off x="406646" y="3131523"/>
            <a:ext cx="3369295" cy="698501"/>
          </a:xfrm>
          <a:prstGeom prst="rect">
            <a:avLst/>
          </a:prstGeom>
        </p:spPr>
        <p:txBody>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it-IT" dirty="0"/>
              <a:t>AWS S3 API</a:t>
            </a:r>
            <a:endParaRPr lang="en-US" dirty="0"/>
          </a:p>
        </p:txBody>
      </p:sp>
      <p:sp>
        <p:nvSpPr>
          <p:cNvPr id="8" name="Title 2">
            <a:extLst>
              <a:ext uri="{FF2B5EF4-FFF2-40B4-BE49-F238E27FC236}">
                <a16:creationId xmlns:a16="http://schemas.microsoft.com/office/drawing/2014/main" id="{54C966B7-F83B-4B25-BCF2-431247A14644}"/>
              </a:ext>
            </a:extLst>
          </p:cNvPr>
          <p:cNvSpPr txBox="1">
            <a:spLocks/>
          </p:cNvSpPr>
          <p:nvPr/>
        </p:nvSpPr>
        <p:spPr>
          <a:xfrm>
            <a:off x="406646" y="4897794"/>
            <a:ext cx="3369295" cy="698501"/>
          </a:xfrm>
          <a:prstGeom prst="rect">
            <a:avLst/>
          </a:prstGeom>
        </p:spPr>
        <p:txBody>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it-IT" dirty="0"/>
              <a:t>CUBBIT S3 API</a:t>
            </a:r>
            <a:endParaRPr lang="en-US" dirty="0"/>
          </a:p>
        </p:txBody>
      </p:sp>
      <p:graphicFrame>
        <p:nvGraphicFramePr>
          <p:cNvPr id="9" name="Diagram 8">
            <a:extLst>
              <a:ext uri="{FF2B5EF4-FFF2-40B4-BE49-F238E27FC236}">
                <a16:creationId xmlns:a16="http://schemas.microsoft.com/office/drawing/2014/main" id="{B93C94BF-7E01-4AFA-BE73-64C311114392}"/>
              </a:ext>
            </a:extLst>
          </p:cNvPr>
          <p:cNvGraphicFramePr/>
          <p:nvPr>
            <p:extLst>
              <p:ext uri="{D42A27DB-BD31-4B8C-83A1-F6EECF244321}">
                <p14:modId xmlns:p14="http://schemas.microsoft.com/office/powerpoint/2010/main" val="901405433"/>
              </p:ext>
            </p:extLst>
          </p:nvPr>
        </p:nvGraphicFramePr>
        <p:xfrm>
          <a:off x="9044379" y="3571091"/>
          <a:ext cx="2888344" cy="24130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custData r:id="rId1"/>
      <p:custData r:id="rId2"/>
    </p:custDataLst>
    <p:extLst>
      <p:ext uri="{BB962C8B-B14F-4D97-AF65-F5344CB8AC3E}">
        <p14:creationId xmlns:p14="http://schemas.microsoft.com/office/powerpoint/2010/main" val="336889369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ED8155A2-6D3F-4376-8DF6-F125FE881DED}"/>
              </a:ext>
            </a:extLst>
          </p:cNvPr>
          <p:cNvGraphicFramePr/>
          <p:nvPr>
            <p:extLst>
              <p:ext uri="{D42A27DB-BD31-4B8C-83A1-F6EECF244321}">
                <p14:modId xmlns:p14="http://schemas.microsoft.com/office/powerpoint/2010/main" val="2909754544"/>
              </p:ext>
            </p:extLst>
          </p:nvPr>
        </p:nvGraphicFramePr>
        <p:xfrm>
          <a:off x="591787" y="130628"/>
          <a:ext cx="11008426" cy="43582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a:extLst>
              <a:ext uri="{FF2B5EF4-FFF2-40B4-BE49-F238E27FC236}">
                <a16:creationId xmlns:a16="http://schemas.microsoft.com/office/drawing/2014/main" id="{0327B7BE-C76D-4232-80C8-7C00D9365EB3}"/>
              </a:ext>
            </a:extLst>
          </p:cNvPr>
          <p:cNvSpPr txBox="1">
            <a:spLocks/>
          </p:cNvSpPr>
          <p:nvPr/>
        </p:nvSpPr>
        <p:spPr>
          <a:xfrm>
            <a:off x="501650" y="1016001"/>
            <a:ext cx="11188700" cy="698501"/>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it-IT" dirty="0">
                <a:ea typeface="+mn-lt"/>
                <a:cs typeface="+mn-lt"/>
              </a:rPr>
              <a:t>UC 1: TRASFERIMENTO FILE DA AWS A CUBBIT</a:t>
            </a:r>
          </a:p>
          <a:p>
            <a:endParaRPr lang="it-IT" dirty="0"/>
          </a:p>
        </p:txBody>
      </p:sp>
      <p:sp>
        <p:nvSpPr>
          <p:cNvPr id="4" name="Title 2">
            <a:extLst>
              <a:ext uri="{FF2B5EF4-FFF2-40B4-BE49-F238E27FC236}">
                <a16:creationId xmlns:a16="http://schemas.microsoft.com/office/drawing/2014/main" id="{530AAA38-A764-4BB8-976D-787B7721CEA6}"/>
              </a:ext>
            </a:extLst>
          </p:cNvPr>
          <p:cNvSpPr txBox="1">
            <a:spLocks/>
          </p:cNvSpPr>
          <p:nvPr/>
        </p:nvSpPr>
        <p:spPr>
          <a:xfrm>
            <a:off x="501650" y="317500"/>
            <a:ext cx="11188700" cy="698501"/>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it-IT" dirty="0">
                <a:cs typeface="Calibri Light"/>
              </a:rPr>
              <a:t>APPLICAZIONE - Workflow</a:t>
            </a:r>
            <a:endParaRPr lang="en-US" dirty="0"/>
          </a:p>
        </p:txBody>
      </p:sp>
      <p:grpSp>
        <p:nvGrpSpPr>
          <p:cNvPr id="103" name="Group 102">
            <a:extLst>
              <a:ext uri="{FF2B5EF4-FFF2-40B4-BE49-F238E27FC236}">
                <a16:creationId xmlns:a16="http://schemas.microsoft.com/office/drawing/2014/main" id="{CC60729A-935D-EDA5-3EDB-2230A7AE7CBD}"/>
              </a:ext>
            </a:extLst>
          </p:cNvPr>
          <p:cNvGrpSpPr/>
          <p:nvPr/>
        </p:nvGrpSpPr>
        <p:grpSpPr>
          <a:xfrm>
            <a:off x="836428" y="3370521"/>
            <a:ext cx="4529469" cy="2225749"/>
            <a:chOff x="2431312" y="1368056"/>
            <a:chExt cx="8064794" cy="4290237"/>
          </a:xfrm>
        </p:grpSpPr>
        <p:sp>
          <p:nvSpPr>
            <p:cNvPr id="87" name="Rectangle 86">
              <a:extLst>
                <a:ext uri="{FF2B5EF4-FFF2-40B4-BE49-F238E27FC236}">
                  <a16:creationId xmlns:a16="http://schemas.microsoft.com/office/drawing/2014/main" id="{D7421769-911A-B5B2-FED6-4467D5613EA1}"/>
                </a:ext>
              </a:extLst>
            </p:cNvPr>
            <p:cNvSpPr/>
            <p:nvPr/>
          </p:nvSpPr>
          <p:spPr bwMode="gray">
            <a:xfrm>
              <a:off x="2431312" y="1368056"/>
              <a:ext cx="8064794" cy="4290237"/>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8" name="Rectangle 87">
              <a:extLst>
                <a:ext uri="{FF2B5EF4-FFF2-40B4-BE49-F238E27FC236}">
                  <a16:creationId xmlns:a16="http://schemas.microsoft.com/office/drawing/2014/main" id="{03C64C74-2183-CA01-F5AF-54BD97435820}"/>
                </a:ext>
              </a:extLst>
            </p:cNvPr>
            <p:cNvSpPr/>
            <p:nvPr/>
          </p:nvSpPr>
          <p:spPr bwMode="gray">
            <a:xfrm>
              <a:off x="2742536" y="2450140"/>
              <a:ext cx="2970027" cy="228777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9" name="Rectangle 88">
              <a:extLst>
                <a:ext uri="{FF2B5EF4-FFF2-40B4-BE49-F238E27FC236}">
                  <a16:creationId xmlns:a16="http://schemas.microsoft.com/office/drawing/2014/main" id="{B3F0F36A-495F-4BD4-02CA-C536F9273BE7}"/>
                </a:ext>
              </a:extLst>
            </p:cNvPr>
            <p:cNvSpPr/>
            <p:nvPr/>
          </p:nvSpPr>
          <p:spPr bwMode="gray">
            <a:xfrm>
              <a:off x="6836069" y="2450139"/>
              <a:ext cx="3390575" cy="228777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0" name="TextBox 89">
              <a:extLst>
                <a:ext uri="{FF2B5EF4-FFF2-40B4-BE49-F238E27FC236}">
                  <a16:creationId xmlns:a16="http://schemas.microsoft.com/office/drawing/2014/main" id="{49D60527-DE51-1BC4-3FB6-9D9C8C02D33A}"/>
                </a:ext>
              </a:extLst>
            </p:cNvPr>
            <p:cNvSpPr txBox="1"/>
            <p:nvPr/>
          </p:nvSpPr>
          <p:spPr>
            <a:xfrm>
              <a:off x="2773324" y="2206256"/>
              <a:ext cx="2932813" cy="29662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1000" dirty="0">
                  <a:solidFill>
                    <a:srgbClr val="313131"/>
                  </a:solidFill>
                  <a:cs typeface="Calibri Light"/>
                </a:rPr>
                <a:t>Folder: \backup</a:t>
              </a:r>
            </a:p>
          </p:txBody>
        </p:sp>
        <p:sp>
          <p:nvSpPr>
            <p:cNvPr id="91" name="TextBox 90">
              <a:extLst>
                <a:ext uri="{FF2B5EF4-FFF2-40B4-BE49-F238E27FC236}">
                  <a16:creationId xmlns:a16="http://schemas.microsoft.com/office/drawing/2014/main" id="{A4F7174F-763A-C6B0-F414-38C595C391BC}"/>
                </a:ext>
              </a:extLst>
            </p:cNvPr>
            <p:cNvSpPr txBox="1"/>
            <p:nvPr/>
          </p:nvSpPr>
          <p:spPr>
            <a:xfrm>
              <a:off x="6884579" y="2206256"/>
              <a:ext cx="2932813" cy="29662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1000" dirty="0">
                  <a:solidFill>
                    <a:srgbClr val="313131"/>
                  </a:solidFill>
                  <a:cs typeface="Calibri Light"/>
                </a:rPr>
                <a:t>Folder: \</a:t>
              </a:r>
              <a:r>
                <a:rPr lang="en-US" sz="1000" dirty="0" err="1">
                  <a:solidFill>
                    <a:srgbClr val="313131"/>
                  </a:solidFill>
                  <a:cs typeface="Calibri Light"/>
                </a:rPr>
                <a:t>storico</a:t>
              </a:r>
              <a:r>
                <a:rPr lang="en-US" sz="1000" dirty="0">
                  <a:solidFill>
                    <a:srgbClr val="313131"/>
                  </a:solidFill>
                  <a:cs typeface="Calibri Light"/>
                </a:rPr>
                <a:t> backup</a:t>
              </a:r>
            </a:p>
          </p:txBody>
        </p:sp>
        <p:pic>
          <p:nvPicPr>
            <p:cNvPr id="92" name="Picture 91" descr="A picture containing text, clipart&#10;&#10;Description automatically generated">
              <a:extLst>
                <a:ext uri="{FF2B5EF4-FFF2-40B4-BE49-F238E27FC236}">
                  <a16:creationId xmlns:a16="http://schemas.microsoft.com/office/drawing/2014/main" id="{14CC9440-06AD-0DFA-E3B9-FDED02AAFDA2}"/>
                </a:ext>
              </a:extLst>
            </p:cNvPr>
            <p:cNvPicPr>
              <a:picLocks noChangeAspect="1"/>
            </p:cNvPicPr>
            <p:nvPr/>
          </p:nvPicPr>
          <p:blipFill>
            <a:blip r:embed="rId7"/>
            <a:stretch>
              <a:fillRect/>
            </a:stretch>
          </p:blipFill>
          <p:spPr>
            <a:xfrm>
              <a:off x="7896206" y="1638123"/>
              <a:ext cx="1098054" cy="393690"/>
            </a:xfrm>
            <a:prstGeom prst="rect">
              <a:avLst/>
            </a:prstGeom>
          </p:spPr>
        </p:pic>
        <p:pic>
          <p:nvPicPr>
            <p:cNvPr id="93" name="Picture 9" descr="Shape&#10;&#10;Description automatically generated">
              <a:extLst>
                <a:ext uri="{FF2B5EF4-FFF2-40B4-BE49-F238E27FC236}">
                  <a16:creationId xmlns:a16="http://schemas.microsoft.com/office/drawing/2014/main" id="{CAC4132B-BB3E-074F-5948-6DC4CBF87509}"/>
                </a:ext>
              </a:extLst>
            </p:cNvPr>
            <p:cNvPicPr>
              <a:picLocks noChangeAspect="1"/>
            </p:cNvPicPr>
            <p:nvPr/>
          </p:nvPicPr>
          <p:blipFill>
            <a:blip r:embed="rId8"/>
            <a:stretch>
              <a:fillRect/>
            </a:stretch>
          </p:blipFill>
          <p:spPr>
            <a:xfrm>
              <a:off x="3879001" y="1486122"/>
              <a:ext cx="942975" cy="704850"/>
            </a:xfrm>
            <a:prstGeom prst="rect">
              <a:avLst/>
            </a:prstGeom>
          </p:spPr>
        </p:pic>
        <p:sp>
          <p:nvSpPr>
            <p:cNvPr id="94" name="Rectangle: Rounded Corners 93">
              <a:extLst>
                <a:ext uri="{FF2B5EF4-FFF2-40B4-BE49-F238E27FC236}">
                  <a16:creationId xmlns:a16="http://schemas.microsoft.com/office/drawing/2014/main" id="{2FA02D43-8C60-1F73-9A3D-2FAD6C1CC071}"/>
                </a:ext>
              </a:extLst>
            </p:cNvPr>
            <p:cNvSpPr/>
            <p:nvPr/>
          </p:nvSpPr>
          <p:spPr bwMode="gray">
            <a:xfrm>
              <a:off x="5940055" y="3033823"/>
              <a:ext cx="737191" cy="294168"/>
            </a:xfrm>
            <a:prstGeom prst="roundRect">
              <a:avLst/>
            </a:prstGeom>
            <a:solidFill>
              <a:srgbClr val="0070C0"/>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95" name="Rectangle: Rounded Corners 94">
              <a:extLst>
                <a:ext uri="{FF2B5EF4-FFF2-40B4-BE49-F238E27FC236}">
                  <a16:creationId xmlns:a16="http://schemas.microsoft.com/office/drawing/2014/main" id="{A2F0460F-975C-EE2F-E11E-FB125EACE1D2}"/>
                </a:ext>
              </a:extLst>
            </p:cNvPr>
            <p:cNvSpPr/>
            <p:nvPr/>
          </p:nvSpPr>
          <p:spPr bwMode="gray">
            <a:xfrm>
              <a:off x="5940055" y="3778102"/>
              <a:ext cx="737191" cy="294168"/>
            </a:xfrm>
            <a:prstGeom prst="round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6" name="Arrow: Left 95">
              <a:extLst>
                <a:ext uri="{FF2B5EF4-FFF2-40B4-BE49-F238E27FC236}">
                  <a16:creationId xmlns:a16="http://schemas.microsoft.com/office/drawing/2014/main" id="{A8424E07-F0FF-EFE6-5D39-C6AB6293D787}"/>
                </a:ext>
              </a:extLst>
            </p:cNvPr>
            <p:cNvSpPr/>
            <p:nvPr/>
          </p:nvSpPr>
          <p:spPr bwMode="gray">
            <a:xfrm>
              <a:off x="6192693" y="3808023"/>
              <a:ext cx="234131" cy="254262"/>
            </a:xfrm>
            <a:prstGeom prst="leftArrow">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7" name="Arrow: Left 96">
              <a:extLst>
                <a:ext uri="{FF2B5EF4-FFF2-40B4-BE49-F238E27FC236}">
                  <a16:creationId xmlns:a16="http://schemas.microsoft.com/office/drawing/2014/main" id="{B58BC5F4-7745-8DB5-1E2C-A6E67B27F209}"/>
                </a:ext>
              </a:extLst>
            </p:cNvPr>
            <p:cNvSpPr/>
            <p:nvPr/>
          </p:nvSpPr>
          <p:spPr bwMode="gray">
            <a:xfrm rot="10800000">
              <a:off x="6192693" y="3063743"/>
              <a:ext cx="234131" cy="254262"/>
            </a:xfrm>
            <a:prstGeom prst="leftArrow">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8" name="TextBox 97">
              <a:extLst>
                <a:ext uri="{FF2B5EF4-FFF2-40B4-BE49-F238E27FC236}">
                  <a16:creationId xmlns:a16="http://schemas.microsoft.com/office/drawing/2014/main" id="{A270EDF9-0086-434F-677B-560C0AA0695C}"/>
                </a:ext>
              </a:extLst>
            </p:cNvPr>
            <p:cNvSpPr txBox="1"/>
            <p:nvPr/>
          </p:nvSpPr>
          <p:spPr>
            <a:xfrm>
              <a:off x="2923952" y="2578396"/>
              <a:ext cx="2538418" cy="15127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lgn="l">
                <a:spcBef>
                  <a:spcPts val="600"/>
                </a:spcBef>
                <a:buSzPct val="100000"/>
                <a:buFont typeface="Wingdings"/>
                <a:buChar char="q"/>
              </a:pPr>
              <a:r>
                <a:rPr lang="en-US" sz="800" dirty="0">
                  <a:solidFill>
                    <a:srgbClr val="313131"/>
                  </a:solidFill>
                  <a:cs typeface="Calibri Light"/>
                </a:rPr>
                <a:t>Database_20230115.</a:t>
              </a:r>
              <a:r>
                <a:rPr lang="en-US" sz="800" dirty="0">
                  <a:solidFill>
                    <a:srgbClr val="313131"/>
                  </a:solidFill>
                  <a:ea typeface="+mn-lt"/>
                  <a:cs typeface="+mn-lt"/>
                </a:rPr>
                <a:t>backup</a:t>
              </a:r>
              <a:endParaRPr lang="en-US" sz="800" dirty="0">
                <a:solidFill>
                  <a:srgbClr val="313131"/>
                </a:solidFill>
                <a:cs typeface="Calibri Light"/>
              </a:endParaRPr>
            </a:p>
            <a:p>
              <a:pPr marL="171450" indent="-171450">
                <a:spcBef>
                  <a:spcPts val="600"/>
                </a:spcBef>
                <a:buSzPct val="100000"/>
                <a:buFont typeface="Wingdings"/>
                <a:buChar char="q"/>
              </a:pPr>
              <a:r>
                <a:rPr lang="en-US" sz="800" dirty="0">
                  <a:solidFill>
                    <a:srgbClr val="313131"/>
                  </a:solidFill>
                  <a:highlight>
                    <a:srgbClr val="C0C0C0"/>
                  </a:highlight>
                  <a:cs typeface="Calibri Light"/>
                </a:rPr>
                <a:t>Database_20230131.backup</a:t>
              </a:r>
            </a:p>
            <a:p>
              <a:pPr marL="171450" indent="-171450">
                <a:spcBef>
                  <a:spcPts val="600"/>
                </a:spcBef>
                <a:buSzPct val="100000"/>
                <a:buFont typeface="Wingdings"/>
                <a:buChar char="q"/>
              </a:pPr>
              <a:r>
                <a:rPr lang="en-US" sz="800" dirty="0">
                  <a:solidFill>
                    <a:srgbClr val="313131"/>
                  </a:solidFill>
                  <a:ea typeface="+mn-lt"/>
                  <a:cs typeface="+mn-lt"/>
                </a:rPr>
                <a:t>Database_20230215.backup</a:t>
              </a:r>
            </a:p>
            <a:p>
              <a:pPr marL="171450" indent="-171450">
                <a:spcBef>
                  <a:spcPts val="600"/>
                </a:spcBef>
                <a:buSzPct val="100000"/>
                <a:buFont typeface="Wingdings"/>
                <a:buChar char="q"/>
              </a:pPr>
              <a:endParaRPr lang="en-US" sz="1200" dirty="0">
                <a:solidFill>
                  <a:srgbClr val="313131"/>
                </a:solidFill>
                <a:cs typeface="Calibri Light"/>
              </a:endParaRPr>
            </a:p>
          </p:txBody>
        </p:sp>
        <p:sp>
          <p:nvSpPr>
            <p:cNvPr id="99" name="TextBox 98">
              <a:extLst>
                <a:ext uri="{FF2B5EF4-FFF2-40B4-BE49-F238E27FC236}">
                  <a16:creationId xmlns:a16="http://schemas.microsoft.com/office/drawing/2014/main" id="{CCA229F1-6340-2FAC-D6A3-D77F08D3E6A0}"/>
                </a:ext>
              </a:extLst>
            </p:cNvPr>
            <p:cNvSpPr txBox="1"/>
            <p:nvPr/>
          </p:nvSpPr>
          <p:spPr>
            <a:xfrm>
              <a:off x="6982047" y="2516371"/>
              <a:ext cx="3231260" cy="23730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Bef>
                  <a:spcPts val="600"/>
                </a:spcBef>
                <a:buSzPct val="100000"/>
              </a:pPr>
              <a:endParaRPr lang="en-US" sz="800" dirty="0">
                <a:solidFill>
                  <a:srgbClr val="313131"/>
                </a:solidFill>
                <a:cs typeface="Calibri Light"/>
              </a:endParaRPr>
            </a:p>
          </p:txBody>
        </p:sp>
      </p:grpSp>
      <p:grpSp>
        <p:nvGrpSpPr>
          <p:cNvPr id="112" name="Group 111">
            <a:extLst>
              <a:ext uri="{FF2B5EF4-FFF2-40B4-BE49-F238E27FC236}">
                <a16:creationId xmlns:a16="http://schemas.microsoft.com/office/drawing/2014/main" id="{CA6E68B9-1C83-7444-9B0E-A2B276526B81}"/>
              </a:ext>
            </a:extLst>
          </p:cNvPr>
          <p:cNvGrpSpPr/>
          <p:nvPr/>
        </p:nvGrpSpPr>
        <p:grpSpPr>
          <a:xfrm>
            <a:off x="6843823" y="3432544"/>
            <a:ext cx="4529469" cy="2225749"/>
            <a:chOff x="2431312" y="1368056"/>
            <a:chExt cx="8064794" cy="4290237"/>
          </a:xfrm>
        </p:grpSpPr>
        <p:sp>
          <p:nvSpPr>
            <p:cNvPr id="113" name="Rectangle 112">
              <a:extLst>
                <a:ext uri="{FF2B5EF4-FFF2-40B4-BE49-F238E27FC236}">
                  <a16:creationId xmlns:a16="http://schemas.microsoft.com/office/drawing/2014/main" id="{95B2B442-01DE-2942-421C-97A83EFC4ED3}"/>
                </a:ext>
              </a:extLst>
            </p:cNvPr>
            <p:cNvSpPr/>
            <p:nvPr/>
          </p:nvSpPr>
          <p:spPr bwMode="gray">
            <a:xfrm>
              <a:off x="2431312" y="1368056"/>
              <a:ext cx="8064794" cy="4290237"/>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4" name="Rectangle 113">
              <a:extLst>
                <a:ext uri="{FF2B5EF4-FFF2-40B4-BE49-F238E27FC236}">
                  <a16:creationId xmlns:a16="http://schemas.microsoft.com/office/drawing/2014/main" id="{090602D9-DDB5-4DB8-F20B-FD6584B8FCAC}"/>
                </a:ext>
              </a:extLst>
            </p:cNvPr>
            <p:cNvSpPr/>
            <p:nvPr/>
          </p:nvSpPr>
          <p:spPr bwMode="gray">
            <a:xfrm>
              <a:off x="2742536" y="2450140"/>
              <a:ext cx="2970027" cy="228777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5" name="Rectangle 114">
              <a:extLst>
                <a:ext uri="{FF2B5EF4-FFF2-40B4-BE49-F238E27FC236}">
                  <a16:creationId xmlns:a16="http://schemas.microsoft.com/office/drawing/2014/main" id="{182ED955-11CC-8157-DDAC-472C1811977A}"/>
                </a:ext>
              </a:extLst>
            </p:cNvPr>
            <p:cNvSpPr/>
            <p:nvPr/>
          </p:nvSpPr>
          <p:spPr bwMode="gray">
            <a:xfrm>
              <a:off x="6836069" y="2450139"/>
              <a:ext cx="3390575" cy="228777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6" name="TextBox 115">
              <a:extLst>
                <a:ext uri="{FF2B5EF4-FFF2-40B4-BE49-F238E27FC236}">
                  <a16:creationId xmlns:a16="http://schemas.microsoft.com/office/drawing/2014/main" id="{9F62C382-F4FA-4F26-D4BD-E25B1BFC4084}"/>
                </a:ext>
              </a:extLst>
            </p:cNvPr>
            <p:cNvSpPr txBox="1"/>
            <p:nvPr/>
          </p:nvSpPr>
          <p:spPr>
            <a:xfrm>
              <a:off x="2773324" y="2206256"/>
              <a:ext cx="2932813" cy="29662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1000" dirty="0">
                  <a:solidFill>
                    <a:srgbClr val="313131"/>
                  </a:solidFill>
                  <a:cs typeface="Calibri Light"/>
                </a:rPr>
                <a:t>Folder: \backup</a:t>
              </a:r>
            </a:p>
          </p:txBody>
        </p:sp>
        <p:sp>
          <p:nvSpPr>
            <p:cNvPr id="117" name="TextBox 116">
              <a:extLst>
                <a:ext uri="{FF2B5EF4-FFF2-40B4-BE49-F238E27FC236}">
                  <a16:creationId xmlns:a16="http://schemas.microsoft.com/office/drawing/2014/main" id="{F06B3D2D-96FB-9371-C982-33539D95CB1E}"/>
                </a:ext>
              </a:extLst>
            </p:cNvPr>
            <p:cNvSpPr txBox="1"/>
            <p:nvPr/>
          </p:nvSpPr>
          <p:spPr>
            <a:xfrm>
              <a:off x="6884579" y="2206256"/>
              <a:ext cx="2932813" cy="29662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1000" dirty="0">
                  <a:solidFill>
                    <a:srgbClr val="313131"/>
                  </a:solidFill>
                  <a:cs typeface="Calibri Light"/>
                </a:rPr>
                <a:t>Folder: \</a:t>
              </a:r>
              <a:r>
                <a:rPr lang="en-US" sz="1000" dirty="0" err="1">
                  <a:solidFill>
                    <a:srgbClr val="313131"/>
                  </a:solidFill>
                  <a:cs typeface="Calibri Light"/>
                </a:rPr>
                <a:t>storico</a:t>
              </a:r>
              <a:r>
                <a:rPr lang="en-US" sz="1000" dirty="0">
                  <a:solidFill>
                    <a:srgbClr val="313131"/>
                  </a:solidFill>
                  <a:cs typeface="Calibri Light"/>
                </a:rPr>
                <a:t> backup</a:t>
              </a:r>
            </a:p>
          </p:txBody>
        </p:sp>
        <p:pic>
          <p:nvPicPr>
            <p:cNvPr id="118" name="Picture 117" descr="A picture containing text, clipart&#10;&#10;Description automatically generated">
              <a:extLst>
                <a:ext uri="{FF2B5EF4-FFF2-40B4-BE49-F238E27FC236}">
                  <a16:creationId xmlns:a16="http://schemas.microsoft.com/office/drawing/2014/main" id="{F3DFD975-BC6D-8CF7-C34F-2FCFB6936B3A}"/>
                </a:ext>
              </a:extLst>
            </p:cNvPr>
            <p:cNvPicPr>
              <a:picLocks noChangeAspect="1"/>
            </p:cNvPicPr>
            <p:nvPr/>
          </p:nvPicPr>
          <p:blipFill>
            <a:blip r:embed="rId7"/>
            <a:stretch>
              <a:fillRect/>
            </a:stretch>
          </p:blipFill>
          <p:spPr>
            <a:xfrm>
              <a:off x="7896206" y="1638123"/>
              <a:ext cx="1098054" cy="393690"/>
            </a:xfrm>
            <a:prstGeom prst="rect">
              <a:avLst/>
            </a:prstGeom>
          </p:spPr>
        </p:pic>
        <p:pic>
          <p:nvPicPr>
            <p:cNvPr id="119" name="Picture 9" descr="Shape&#10;&#10;Description automatically generated">
              <a:extLst>
                <a:ext uri="{FF2B5EF4-FFF2-40B4-BE49-F238E27FC236}">
                  <a16:creationId xmlns:a16="http://schemas.microsoft.com/office/drawing/2014/main" id="{C5611F42-B4E9-0F97-27A4-834FD6743179}"/>
                </a:ext>
              </a:extLst>
            </p:cNvPr>
            <p:cNvPicPr>
              <a:picLocks noChangeAspect="1"/>
            </p:cNvPicPr>
            <p:nvPr/>
          </p:nvPicPr>
          <p:blipFill>
            <a:blip r:embed="rId8"/>
            <a:stretch>
              <a:fillRect/>
            </a:stretch>
          </p:blipFill>
          <p:spPr>
            <a:xfrm>
              <a:off x="3879001" y="1486122"/>
              <a:ext cx="942975" cy="704850"/>
            </a:xfrm>
            <a:prstGeom prst="rect">
              <a:avLst/>
            </a:prstGeom>
          </p:spPr>
        </p:pic>
        <p:sp>
          <p:nvSpPr>
            <p:cNvPr id="120" name="Rectangle: Rounded Corners 119">
              <a:extLst>
                <a:ext uri="{FF2B5EF4-FFF2-40B4-BE49-F238E27FC236}">
                  <a16:creationId xmlns:a16="http://schemas.microsoft.com/office/drawing/2014/main" id="{A9A99F3B-77CA-D06D-52F5-79A39E58BE3B}"/>
                </a:ext>
              </a:extLst>
            </p:cNvPr>
            <p:cNvSpPr/>
            <p:nvPr/>
          </p:nvSpPr>
          <p:spPr bwMode="gray">
            <a:xfrm>
              <a:off x="5940055" y="3033823"/>
              <a:ext cx="737191" cy="294168"/>
            </a:xfrm>
            <a:prstGeom prst="round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121" name="Rectangle: Rounded Corners 120">
              <a:extLst>
                <a:ext uri="{FF2B5EF4-FFF2-40B4-BE49-F238E27FC236}">
                  <a16:creationId xmlns:a16="http://schemas.microsoft.com/office/drawing/2014/main" id="{2DFC0AAA-C0FE-4981-A4BC-B55C8CB364E8}"/>
                </a:ext>
              </a:extLst>
            </p:cNvPr>
            <p:cNvSpPr/>
            <p:nvPr/>
          </p:nvSpPr>
          <p:spPr bwMode="gray">
            <a:xfrm>
              <a:off x="5940055" y="3778102"/>
              <a:ext cx="737191" cy="294168"/>
            </a:xfrm>
            <a:prstGeom prst="round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2" name="Arrow: Left 121">
              <a:extLst>
                <a:ext uri="{FF2B5EF4-FFF2-40B4-BE49-F238E27FC236}">
                  <a16:creationId xmlns:a16="http://schemas.microsoft.com/office/drawing/2014/main" id="{430A3325-1624-EADD-D8C0-E987C63E1FED}"/>
                </a:ext>
              </a:extLst>
            </p:cNvPr>
            <p:cNvSpPr/>
            <p:nvPr/>
          </p:nvSpPr>
          <p:spPr bwMode="gray">
            <a:xfrm>
              <a:off x="6192693" y="3808023"/>
              <a:ext cx="234131" cy="254262"/>
            </a:xfrm>
            <a:prstGeom prst="leftArrow">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3" name="Arrow: Left 122">
              <a:extLst>
                <a:ext uri="{FF2B5EF4-FFF2-40B4-BE49-F238E27FC236}">
                  <a16:creationId xmlns:a16="http://schemas.microsoft.com/office/drawing/2014/main" id="{05BC1BA9-44CF-240B-A407-D54E47B8792F}"/>
                </a:ext>
              </a:extLst>
            </p:cNvPr>
            <p:cNvSpPr/>
            <p:nvPr/>
          </p:nvSpPr>
          <p:spPr bwMode="gray">
            <a:xfrm rot="10800000">
              <a:off x="6192693" y="3063743"/>
              <a:ext cx="234131" cy="254262"/>
            </a:xfrm>
            <a:prstGeom prst="leftArrow">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4" name="TextBox 123">
              <a:extLst>
                <a:ext uri="{FF2B5EF4-FFF2-40B4-BE49-F238E27FC236}">
                  <a16:creationId xmlns:a16="http://schemas.microsoft.com/office/drawing/2014/main" id="{B6D64586-D1A0-0FA8-919C-4034CC3F6625}"/>
                </a:ext>
              </a:extLst>
            </p:cNvPr>
            <p:cNvSpPr txBox="1"/>
            <p:nvPr/>
          </p:nvSpPr>
          <p:spPr>
            <a:xfrm>
              <a:off x="2923952" y="2578396"/>
              <a:ext cx="2538418" cy="15127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lgn="l">
                <a:spcBef>
                  <a:spcPts val="600"/>
                </a:spcBef>
                <a:buSzPct val="100000"/>
                <a:buFont typeface="Wingdings"/>
                <a:buChar char="q"/>
              </a:pPr>
              <a:r>
                <a:rPr lang="en-US" sz="800" dirty="0">
                  <a:solidFill>
                    <a:srgbClr val="313131"/>
                  </a:solidFill>
                  <a:cs typeface="Calibri Light"/>
                </a:rPr>
                <a:t>Database_20230115.</a:t>
              </a:r>
              <a:r>
                <a:rPr lang="en-US" sz="800" dirty="0">
                  <a:solidFill>
                    <a:srgbClr val="313131"/>
                  </a:solidFill>
                  <a:ea typeface="+mn-lt"/>
                  <a:cs typeface="+mn-lt"/>
                </a:rPr>
                <a:t>backup</a:t>
              </a:r>
              <a:endParaRPr lang="en-US" sz="800" dirty="0">
                <a:solidFill>
                  <a:srgbClr val="313131"/>
                </a:solidFill>
                <a:cs typeface="Calibri Light"/>
              </a:endParaRPr>
            </a:p>
            <a:p>
              <a:pPr marL="171450" indent="-171450">
                <a:spcBef>
                  <a:spcPts val="600"/>
                </a:spcBef>
                <a:buSzPct val="100000"/>
                <a:buFont typeface="Wingdings"/>
                <a:buChar char="q"/>
              </a:pPr>
              <a:r>
                <a:rPr lang="en-US" sz="800" dirty="0">
                  <a:solidFill>
                    <a:srgbClr val="313131"/>
                  </a:solidFill>
                  <a:cs typeface="Calibri Light"/>
                </a:rPr>
                <a:t>Database_20230131.backup</a:t>
              </a:r>
            </a:p>
            <a:p>
              <a:pPr marL="171450" indent="-171450">
                <a:spcBef>
                  <a:spcPts val="600"/>
                </a:spcBef>
                <a:buSzPct val="100000"/>
                <a:buFont typeface="Wingdings"/>
                <a:buChar char="q"/>
              </a:pPr>
              <a:r>
                <a:rPr lang="en-US" sz="800" dirty="0">
                  <a:solidFill>
                    <a:srgbClr val="313131"/>
                  </a:solidFill>
                  <a:ea typeface="+mn-lt"/>
                  <a:cs typeface="+mn-lt"/>
                </a:rPr>
                <a:t>Database_20230215.backup</a:t>
              </a:r>
            </a:p>
            <a:p>
              <a:pPr marL="171450" indent="-171450">
                <a:spcBef>
                  <a:spcPts val="600"/>
                </a:spcBef>
                <a:buSzPct val="100000"/>
                <a:buFont typeface="Wingdings"/>
                <a:buChar char="q"/>
              </a:pPr>
              <a:endParaRPr lang="en-US" sz="1200" dirty="0">
                <a:solidFill>
                  <a:srgbClr val="313131"/>
                </a:solidFill>
                <a:cs typeface="Calibri Light"/>
              </a:endParaRPr>
            </a:p>
          </p:txBody>
        </p:sp>
        <p:sp>
          <p:nvSpPr>
            <p:cNvPr id="125" name="TextBox 124">
              <a:extLst>
                <a:ext uri="{FF2B5EF4-FFF2-40B4-BE49-F238E27FC236}">
                  <a16:creationId xmlns:a16="http://schemas.microsoft.com/office/drawing/2014/main" id="{BCC66223-DD9C-E333-C51E-A5F37FA76D6C}"/>
                </a:ext>
              </a:extLst>
            </p:cNvPr>
            <p:cNvSpPr txBox="1"/>
            <p:nvPr/>
          </p:nvSpPr>
          <p:spPr>
            <a:xfrm>
              <a:off x="6982047" y="2516371"/>
              <a:ext cx="3231260" cy="124583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lgn="l">
                <a:spcBef>
                  <a:spcPts val="600"/>
                </a:spcBef>
                <a:buSzPct val="100000"/>
                <a:buFont typeface="Wingdings"/>
                <a:buChar char="q"/>
              </a:pPr>
              <a:r>
                <a:rPr lang="en-US" sz="800" dirty="0">
                  <a:solidFill>
                    <a:srgbClr val="313131"/>
                  </a:solidFill>
                  <a:cs typeface="Calibri Light"/>
                </a:rPr>
                <a:t>Database_20230131.</a:t>
              </a:r>
              <a:r>
                <a:rPr lang="en-US" sz="800" dirty="0">
                  <a:solidFill>
                    <a:srgbClr val="313131"/>
                  </a:solidFill>
                  <a:ea typeface="+mn-lt"/>
                  <a:cs typeface="+mn-lt"/>
                </a:rPr>
                <a:t>backup_20230205</a:t>
              </a:r>
              <a:endParaRPr lang="en-US" sz="800" dirty="0">
                <a:solidFill>
                  <a:srgbClr val="313131"/>
                </a:solidFill>
                <a:cs typeface="Calibri Light"/>
              </a:endParaRPr>
            </a:p>
            <a:p>
              <a:pPr marL="171450" indent="-171450">
                <a:spcBef>
                  <a:spcPts val="600"/>
                </a:spcBef>
                <a:buSzPct val="100000"/>
                <a:buFont typeface="Wingdings"/>
                <a:buChar char="q"/>
              </a:pPr>
              <a:endParaRPr lang="en-US" sz="1200" dirty="0">
                <a:solidFill>
                  <a:srgbClr val="313131"/>
                </a:solidFill>
                <a:ea typeface="+mn-lt"/>
                <a:cs typeface="+mn-lt"/>
              </a:endParaRPr>
            </a:p>
            <a:p>
              <a:pPr marL="171450" indent="-171450">
                <a:spcBef>
                  <a:spcPts val="600"/>
                </a:spcBef>
                <a:buSzPct val="100000"/>
                <a:buFont typeface="Wingdings"/>
                <a:buChar char="q"/>
              </a:pPr>
              <a:endParaRPr lang="en-US" sz="1200" dirty="0">
                <a:solidFill>
                  <a:srgbClr val="313131"/>
                </a:solidFill>
                <a:cs typeface="Calibri Light"/>
              </a:endParaRPr>
            </a:p>
          </p:txBody>
        </p:sp>
      </p:grpSp>
      <p:grpSp>
        <p:nvGrpSpPr>
          <p:cNvPr id="145" name="Group 592">
            <a:extLst>
              <a:ext uri="{FF2B5EF4-FFF2-40B4-BE49-F238E27FC236}">
                <a16:creationId xmlns:a16="http://schemas.microsoft.com/office/drawing/2014/main" id="{94B6A204-06A6-BE92-6898-D78D3FD1A276}"/>
              </a:ext>
            </a:extLst>
          </p:cNvPr>
          <p:cNvGrpSpPr>
            <a:grpSpLocks noChangeAspect="1"/>
          </p:cNvGrpSpPr>
          <p:nvPr/>
        </p:nvGrpSpPr>
        <p:grpSpPr bwMode="auto">
          <a:xfrm>
            <a:off x="7090261" y="4240523"/>
            <a:ext cx="131531" cy="148164"/>
            <a:chOff x="373" y="1933"/>
            <a:chExt cx="341" cy="340"/>
          </a:xfrm>
          <a:solidFill>
            <a:schemeClr val="accent6"/>
          </a:solidFill>
        </p:grpSpPr>
        <p:sp>
          <p:nvSpPr>
            <p:cNvPr id="143" name="Freeform 693">
              <a:extLst>
                <a:ext uri="{FF2B5EF4-FFF2-40B4-BE49-F238E27FC236}">
                  <a16:creationId xmlns:a16="http://schemas.microsoft.com/office/drawing/2014/main" id="{2D8D3143-6B9A-FF44-BF5B-C3175829BC2E}"/>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w="12700">
              <a:solidFill>
                <a:srgbClr val="FF0000"/>
              </a:solid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694">
              <a:extLst>
                <a:ext uri="{FF2B5EF4-FFF2-40B4-BE49-F238E27FC236}">
                  <a16:creationId xmlns:a16="http://schemas.microsoft.com/office/drawing/2014/main" id="{2D439D2B-6819-2DA4-8AF9-80F01122F2F7}"/>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12700">
              <a:solidFill>
                <a:srgbClr val="FF0000"/>
              </a:solid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Arrow: Up 13">
            <a:extLst>
              <a:ext uri="{FF2B5EF4-FFF2-40B4-BE49-F238E27FC236}">
                <a16:creationId xmlns:a16="http://schemas.microsoft.com/office/drawing/2014/main" id="{3661ED70-01A6-5687-7067-4D7D8DE85FA2}"/>
              </a:ext>
            </a:extLst>
          </p:cNvPr>
          <p:cNvSpPr/>
          <p:nvPr/>
        </p:nvSpPr>
        <p:spPr bwMode="gray">
          <a:xfrm rot="-2700000">
            <a:off x="3396111" y="4322579"/>
            <a:ext cx="183375" cy="446781"/>
          </a:xfrm>
          <a:prstGeom prst="upArrow">
            <a:avLst/>
          </a:prstGeom>
          <a:solidFill>
            <a:srgbClr val="FF0000"/>
          </a:solid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Arrow: Up 14">
            <a:extLst>
              <a:ext uri="{FF2B5EF4-FFF2-40B4-BE49-F238E27FC236}">
                <a16:creationId xmlns:a16="http://schemas.microsoft.com/office/drawing/2014/main" id="{606AA128-028A-C866-3610-8085EE17D038}"/>
              </a:ext>
            </a:extLst>
          </p:cNvPr>
          <p:cNvSpPr/>
          <p:nvPr/>
        </p:nvSpPr>
        <p:spPr bwMode="gray">
          <a:xfrm rot="2700000">
            <a:off x="835436" y="4242836"/>
            <a:ext cx="183375" cy="446781"/>
          </a:xfrm>
          <a:prstGeom prst="upArrow">
            <a:avLst/>
          </a:prstGeom>
          <a:solidFill>
            <a:srgbClr val="FF0000"/>
          </a:solidFill>
          <a:ln w="19050" algn="ctr">
            <a:solidFill>
              <a:srgbClr val="FF0000"/>
            </a:solid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en-US" sz="1600" b="1" dirty="0">
              <a:solidFill>
                <a:schemeClr val="bg1"/>
              </a:solidFill>
            </a:endParaRPr>
          </a:p>
        </p:txBody>
      </p:sp>
      <p:sp>
        <p:nvSpPr>
          <p:cNvPr id="16" name="Arrow: Up 15">
            <a:extLst>
              <a:ext uri="{FF2B5EF4-FFF2-40B4-BE49-F238E27FC236}">
                <a16:creationId xmlns:a16="http://schemas.microsoft.com/office/drawing/2014/main" id="{7B65C22C-66DF-94F8-25B3-BA403DF57222}"/>
              </a:ext>
            </a:extLst>
          </p:cNvPr>
          <p:cNvSpPr/>
          <p:nvPr/>
        </p:nvSpPr>
        <p:spPr bwMode="gray">
          <a:xfrm rot="-2700000">
            <a:off x="10502204" y="4127648"/>
            <a:ext cx="183375" cy="446781"/>
          </a:xfrm>
          <a:prstGeom prst="upArrow">
            <a:avLst/>
          </a:prstGeom>
          <a:solidFill>
            <a:srgbClr val="FF0000"/>
          </a:solid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Arrow: Up 12">
            <a:extLst>
              <a:ext uri="{FF2B5EF4-FFF2-40B4-BE49-F238E27FC236}">
                <a16:creationId xmlns:a16="http://schemas.microsoft.com/office/drawing/2014/main" id="{36C6087A-24E1-CA0D-4796-717A633936D0}"/>
              </a:ext>
            </a:extLst>
          </p:cNvPr>
          <p:cNvSpPr/>
          <p:nvPr/>
        </p:nvSpPr>
        <p:spPr bwMode="gray">
          <a:xfrm rot="2700000">
            <a:off x="6816249" y="4349161"/>
            <a:ext cx="183375" cy="446781"/>
          </a:xfrm>
          <a:prstGeom prst="upArrow">
            <a:avLst/>
          </a:prstGeom>
          <a:solidFill>
            <a:srgbClr val="FF0000"/>
          </a:solidFill>
          <a:ln w="19050" algn="ctr">
            <a:solidFill>
              <a:srgbClr val="FF0000"/>
            </a:solid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en-US" sz="1600" b="1" dirty="0">
              <a:solidFill>
                <a:schemeClr val="bg1"/>
              </a:solidFill>
            </a:endParaRPr>
          </a:p>
        </p:txBody>
      </p:sp>
      <p:sp>
        <p:nvSpPr>
          <p:cNvPr id="18" name="Oval 17">
            <a:extLst>
              <a:ext uri="{FF2B5EF4-FFF2-40B4-BE49-F238E27FC236}">
                <a16:creationId xmlns:a16="http://schemas.microsoft.com/office/drawing/2014/main" id="{414C823E-2066-54DA-A830-260A9ACF8715}"/>
              </a:ext>
            </a:extLst>
          </p:cNvPr>
          <p:cNvSpPr/>
          <p:nvPr/>
        </p:nvSpPr>
        <p:spPr bwMode="gray">
          <a:xfrm>
            <a:off x="561753" y="3884427"/>
            <a:ext cx="285307" cy="24100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ea typeface="Calibri Light"/>
                <a:cs typeface="Calibri Light"/>
              </a:rPr>
              <a:t>1</a:t>
            </a:r>
            <a:endParaRPr lang="en-US" sz="1200" b="1">
              <a:solidFill>
                <a:schemeClr val="bg1"/>
              </a:solidFill>
              <a:ea typeface="Calibri Light"/>
              <a:cs typeface="Calibri Light"/>
            </a:endParaRPr>
          </a:p>
        </p:txBody>
      </p:sp>
      <p:sp>
        <p:nvSpPr>
          <p:cNvPr id="19" name="Oval 18">
            <a:extLst>
              <a:ext uri="{FF2B5EF4-FFF2-40B4-BE49-F238E27FC236}">
                <a16:creationId xmlns:a16="http://schemas.microsoft.com/office/drawing/2014/main" id="{BF4406C7-D230-19F0-E792-831C98310FE4}"/>
              </a:ext>
            </a:extLst>
          </p:cNvPr>
          <p:cNvSpPr/>
          <p:nvPr/>
        </p:nvSpPr>
        <p:spPr bwMode="gray">
          <a:xfrm>
            <a:off x="1244008" y="4380613"/>
            <a:ext cx="285307" cy="24100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ea typeface="Calibri Light"/>
                <a:cs typeface="Calibri Light"/>
              </a:rPr>
              <a:t>2</a:t>
            </a:r>
          </a:p>
        </p:txBody>
      </p:sp>
      <p:sp>
        <p:nvSpPr>
          <p:cNvPr id="20" name="Oval 19">
            <a:extLst>
              <a:ext uri="{FF2B5EF4-FFF2-40B4-BE49-F238E27FC236}">
                <a16:creationId xmlns:a16="http://schemas.microsoft.com/office/drawing/2014/main" id="{436BF297-27E7-A6C5-6F8F-5B5B59D73FE4}"/>
              </a:ext>
            </a:extLst>
          </p:cNvPr>
          <p:cNvSpPr/>
          <p:nvPr/>
        </p:nvSpPr>
        <p:spPr bwMode="gray">
          <a:xfrm>
            <a:off x="3264195" y="4079357"/>
            <a:ext cx="285307" cy="24100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ea typeface="Calibri Light"/>
                <a:cs typeface="Calibri Light"/>
              </a:rPr>
              <a:t>3</a:t>
            </a:r>
          </a:p>
        </p:txBody>
      </p:sp>
      <p:sp>
        <p:nvSpPr>
          <p:cNvPr id="29" name="Oval 28">
            <a:extLst>
              <a:ext uri="{FF2B5EF4-FFF2-40B4-BE49-F238E27FC236}">
                <a16:creationId xmlns:a16="http://schemas.microsoft.com/office/drawing/2014/main" id="{61B7418D-25CC-7CFB-7F48-72BBAB8D25E8}"/>
              </a:ext>
            </a:extLst>
          </p:cNvPr>
          <p:cNvSpPr/>
          <p:nvPr/>
        </p:nvSpPr>
        <p:spPr bwMode="gray">
          <a:xfrm>
            <a:off x="10813311" y="4203403"/>
            <a:ext cx="285307" cy="24100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ea typeface="Calibri Light"/>
                <a:cs typeface="Calibri Light"/>
              </a:rPr>
              <a:t>4</a:t>
            </a:r>
          </a:p>
        </p:txBody>
      </p:sp>
      <p:sp>
        <p:nvSpPr>
          <p:cNvPr id="30" name="Oval 29">
            <a:extLst>
              <a:ext uri="{FF2B5EF4-FFF2-40B4-BE49-F238E27FC236}">
                <a16:creationId xmlns:a16="http://schemas.microsoft.com/office/drawing/2014/main" id="{4C4DB327-AB61-A8B3-CD96-B52C4FF84286}"/>
              </a:ext>
            </a:extLst>
          </p:cNvPr>
          <p:cNvSpPr/>
          <p:nvPr/>
        </p:nvSpPr>
        <p:spPr bwMode="gray">
          <a:xfrm>
            <a:off x="6560288" y="4345172"/>
            <a:ext cx="285307" cy="24100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ea typeface="Calibri Light"/>
                <a:cs typeface="Calibri Light"/>
              </a:rPr>
              <a:t>5</a:t>
            </a:r>
          </a:p>
        </p:txBody>
      </p:sp>
    </p:spTree>
    <p:extLst>
      <p:ext uri="{BB962C8B-B14F-4D97-AF65-F5344CB8AC3E}">
        <p14:creationId xmlns:p14="http://schemas.microsoft.com/office/powerpoint/2010/main" val="134051231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8A91A761-42FA-4E1C-96A7-22F73CCD85CE}"/>
              </a:ext>
            </a:extLst>
          </p:cNvPr>
          <p:cNvSpPr txBox="1">
            <a:spLocks/>
          </p:cNvSpPr>
          <p:nvPr/>
        </p:nvSpPr>
        <p:spPr>
          <a:xfrm>
            <a:off x="501650" y="317500"/>
            <a:ext cx="11188700" cy="698501"/>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it-IT" dirty="0">
                <a:cs typeface="Calibri Light"/>
              </a:rPr>
              <a:t>APPLICAZIONE - Workflow</a:t>
            </a:r>
            <a:endParaRPr lang="en-US" dirty="0"/>
          </a:p>
        </p:txBody>
      </p:sp>
      <p:sp>
        <p:nvSpPr>
          <p:cNvPr id="3" name="Title 2">
            <a:extLst>
              <a:ext uri="{FF2B5EF4-FFF2-40B4-BE49-F238E27FC236}">
                <a16:creationId xmlns:a16="http://schemas.microsoft.com/office/drawing/2014/main" id="{25003FA7-50CF-4B24-A0CE-25F0DDFDEBF1}"/>
              </a:ext>
            </a:extLst>
          </p:cNvPr>
          <p:cNvSpPr txBox="1">
            <a:spLocks/>
          </p:cNvSpPr>
          <p:nvPr/>
        </p:nvSpPr>
        <p:spPr>
          <a:xfrm>
            <a:off x="501650" y="889787"/>
            <a:ext cx="11188700" cy="698501"/>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it-IT" dirty="0">
                <a:ea typeface="+mn-lt"/>
                <a:cs typeface="+mn-lt"/>
              </a:rPr>
              <a:t>UC 1: TRASFERIMENTO FILE DA AWS A CUBBIT</a:t>
            </a:r>
          </a:p>
          <a:p>
            <a:endParaRPr lang="it-IT" dirty="0"/>
          </a:p>
        </p:txBody>
      </p:sp>
      <p:pic>
        <p:nvPicPr>
          <p:cNvPr id="5" name="Picture 4">
            <a:extLst>
              <a:ext uri="{FF2B5EF4-FFF2-40B4-BE49-F238E27FC236}">
                <a16:creationId xmlns:a16="http://schemas.microsoft.com/office/drawing/2014/main" id="{C1577ABB-412C-4FAD-87FC-7B8597ED48D7}"/>
              </a:ext>
            </a:extLst>
          </p:cNvPr>
          <p:cNvPicPr>
            <a:picLocks noChangeAspect="1"/>
          </p:cNvPicPr>
          <p:nvPr/>
        </p:nvPicPr>
        <p:blipFill>
          <a:blip r:embed="rId2"/>
          <a:stretch>
            <a:fillRect/>
          </a:stretch>
        </p:blipFill>
        <p:spPr>
          <a:xfrm>
            <a:off x="616449" y="1484903"/>
            <a:ext cx="4191857" cy="4892352"/>
          </a:xfrm>
          <a:prstGeom prst="rect">
            <a:avLst/>
          </a:prstGeom>
        </p:spPr>
      </p:pic>
      <p:sp>
        <p:nvSpPr>
          <p:cNvPr id="6" name="Rectangle 5">
            <a:extLst>
              <a:ext uri="{FF2B5EF4-FFF2-40B4-BE49-F238E27FC236}">
                <a16:creationId xmlns:a16="http://schemas.microsoft.com/office/drawing/2014/main" id="{18B7D3FB-B893-4544-BB83-8349CCCDE98A}"/>
              </a:ext>
            </a:extLst>
          </p:cNvPr>
          <p:cNvSpPr/>
          <p:nvPr/>
        </p:nvSpPr>
        <p:spPr bwMode="gray">
          <a:xfrm>
            <a:off x="6924781" y="1589416"/>
            <a:ext cx="4530903" cy="2057909"/>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 name="TextBox 7">
            <a:extLst>
              <a:ext uri="{FF2B5EF4-FFF2-40B4-BE49-F238E27FC236}">
                <a16:creationId xmlns:a16="http://schemas.microsoft.com/office/drawing/2014/main" id="{BFA29865-957E-4F2E-9B5D-796EEC77BF80}"/>
              </a:ext>
            </a:extLst>
          </p:cNvPr>
          <p:cNvSpPr txBox="1"/>
          <p:nvPr/>
        </p:nvSpPr>
        <p:spPr>
          <a:xfrm>
            <a:off x="7043486" y="2347828"/>
            <a:ext cx="4530901" cy="984885"/>
          </a:xfrm>
          <a:prstGeom prst="rect">
            <a:avLst/>
          </a:prstGeom>
          <a:noFill/>
        </p:spPr>
        <p:txBody>
          <a:bodyPr wrap="square" lIns="0" tIns="0" rIns="0" bIns="0" rtlCol="0">
            <a:spAutoFit/>
          </a:bodyPr>
          <a:lstStyle/>
          <a:p>
            <a:pPr>
              <a:spcBef>
                <a:spcPts val="600"/>
              </a:spcBef>
              <a:buSzPct val="100000"/>
            </a:pPr>
            <a:r>
              <a:rPr lang="it-IT" dirty="0">
                <a:solidFill>
                  <a:schemeClr val="bg1"/>
                </a:solidFill>
              </a:rPr>
              <a:t> File1 </a:t>
            </a:r>
          </a:p>
          <a:p>
            <a:pPr>
              <a:spcBef>
                <a:spcPts val="600"/>
              </a:spcBef>
              <a:buSzPct val="100000"/>
            </a:pPr>
            <a:r>
              <a:rPr lang="it-IT" dirty="0">
                <a:solidFill>
                  <a:schemeClr val="bg1"/>
                </a:solidFill>
              </a:rPr>
              <a:t> File2</a:t>
            </a:r>
          </a:p>
          <a:p>
            <a:pPr>
              <a:spcBef>
                <a:spcPts val="600"/>
              </a:spcBef>
              <a:buSzPct val="100000"/>
            </a:pPr>
            <a:r>
              <a:rPr lang="it-IT" dirty="0">
                <a:solidFill>
                  <a:schemeClr val="bg1"/>
                </a:solidFill>
              </a:rPr>
              <a:t> File3</a:t>
            </a:r>
          </a:p>
        </p:txBody>
      </p:sp>
      <p:cxnSp>
        <p:nvCxnSpPr>
          <p:cNvPr id="9" name="Straight Connector 8">
            <a:extLst>
              <a:ext uri="{FF2B5EF4-FFF2-40B4-BE49-F238E27FC236}">
                <a16:creationId xmlns:a16="http://schemas.microsoft.com/office/drawing/2014/main" id="{48A70C7D-1B68-4A51-8583-B2E4F0C78941}"/>
              </a:ext>
            </a:extLst>
          </p:cNvPr>
          <p:cNvCxnSpPr/>
          <p:nvPr/>
        </p:nvCxnSpPr>
        <p:spPr>
          <a:xfrm>
            <a:off x="7746715" y="2518066"/>
            <a:ext cx="340074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11458CF-FD61-4368-B34B-8832D096CB22}"/>
              </a:ext>
            </a:extLst>
          </p:cNvPr>
          <p:cNvCxnSpPr/>
          <p:nvPr/>
        </p:nvCxnSpPr>
        <p:spPr>
          <a:xfrm>
            <a:off x="7746715" y="2855401"/>
            <a:ext cx="340074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C605AAF-D32D-4D11-B203-16150C0BA0AB}"/>
              </a:ext>
            </a:extLst>
          </p:cNvPr>
          <p:cNvCxnSpPr/>
          <p:nvPr/>
        </p:nvCxnSpPr>
        <p:spPr>
          <a:xfrm>
            <a:off x="7746715" y="3194448"/>
            <a:ext cx="340074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9B9C3322-D875-4390-9FA3-FD10C2AE8449}"/>
              </a:ext>
            </a:extLst>
          </p:cNvPr>
          <p:cNvSpPr/>
          <p:nvPr/>
        </p:nvSpPr>
        <p:spPr bwMode="gray">
          <a:xfrm>
            <a:off x="6924780" y="4482591"/>
            <a:ext cx="4530903" cy="2057909"/>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Rectangle 12">
            <a:extLst>
              <a:ext uri="{FF2B5EF4-FFF2-40B4-BE49-F238E27FC236}">
                <a16:creationId xmlns:a16="http://schemas.microsoft.com/office/drawing/2014/main" id="{2FEC3778-5ED5-49DD-ADFB-C10C4FBB870D}"/>
              </a:ext>
            </a:extLst>
          </p:cNvPr>
          <p:cNvSpPr/>
          <p:nvPr/>
        </p:nvSpPr>
        <p:spPr bwMode="gray">
          <a:xfrm>
            <a:off x="6924782" y="4544236"/>
            <a:ext cx="4530902" cy="45514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 name="TextBox 13">
            <a:extLst>
              <a:ext uri="{FF2B5EF4-FFF2-40B4-BE49-F238E27FC236}">
                <a16:creationId xmlns:a16="http://schemas.microsoft.com/office/drawing/2014/main" id="{9A9EE894-7DA2-4282-A4C4-ADF844910A82}"/>
              </a:ext>
            </a:extLst>
          </p:cNvPr>
          <p:cNvSpPr txBox="1"/>
          <p:nvPr/>
        </p:nvSpPr>
        <p:spPr>
          <a:xfrm>
            <a:off x="6924779" y="4633306"/>
            <a:ext cx="4530901" cy="276999"/>
          </a:xfrm>
          <a:prstGeom prst="rect">
            <a:avLst/>
          </a:prstGeom>
          <a:noFill/>
        </p:spPr>
        <p:txBody>
          <a:bodyPr wrap="square" lIns="0" tIns="0" rIns="0" bIns="0" rtlCol="0">
            <a:spAutoFit/>
          </a:bodyPr>
          <a:lstStyle/>
          <a:p>
            <a:pPr>
              <a:spcBef>
                <a:spcPts val="600"/>
              </a:spcBef>
              <a:buSzPct val="100000"/>
            </a:pPr>
            <a:r>
              <a:rPr lang="it-IT" dirty="0">
                <a:solidFill>
                  <a:srgbClr val="313131"/>
                </a:solidFill>
              </a:rPr>
              <a:t>             CUBBIT STORICO BACKUP FOLDER</a:t>
            </a:r>
            <a:endParaRPr lang="en-US" dirty="0">
              <a:solidFill>
                <a:srgbClr val="313131"/>
              </a:solidFill>
            </a:endParaRPr>
          </a:p>
        </p:txBody>
      </p:sp>
      <p:sp>
        <p:nvSpPr>
          <p:cNvPr id="15" name="Rectangle 14">
            <a:extLst>
              <a:ext uri="{FF2B5EF4-FFF2-40B4-BE49-F238E27FC236}">
                <a16:creationId xmlns:a16="http://schemas.microsoft.com/office/drawing/2014/main" id="{932F6C5B-4FB3-4069-A2CA-E2C1E0FDC487}"/>
              </a:ext>
            </a:extLst>
          </p:cNvPr>
          <p:cNvSpPr/>
          <p:nvPr/>
        </p:nvSpPr>
        <p:spPr bwMode="gray">
          <a:xfrm>
            <a:off x="6924782" y="1651062"/>
            <a:ext cx="4530902" cy="45514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TextBox 15">
            <a:extLst>
              <a:ext uri="{FF2B5EF4-FFF2-40B4-BE49-F238E27FC236}">
                <a16:creationId xmlns:a16="http://schemas.microsoft.com/office/drawing/2014/main" id="{9A5FD2D4-A02B-41D8-B6BB-76D74C810007}"/>
              </a:ext>
            </a:extLst>
          </p:cNvPr>
          <p:cNvSpPr txBox="1"/>
          <p:nvPr/>
        </p:nvSpPr>
        <p:spPr>
          <a:xfrm>
            <a:off x="6924780" y="1721502"/>
            <a:ext cx="4530901" cy="276999"/>
          </a:xfrm>
          <a:prstGeom prst="rect">
            <a:avLst/>
          </a:prstGeom>
          <a:noFill/>
        </p:spPr>
        <p:txBody>
          <a:bodyPr wrap="square" lIns="0" tIns="0" rIns="0" bIns="0" rtlCol="0">
            <a:spAutoFit/>
          </a:bodyPr>
          <a:lstStyle/>
          <a:p>
            <a:pPr>
              <a:spcBef>
                <a:spcPts val="600"/>
              </a:spcBef>
              <a:buSzPct val="100000"/>
            </a:pPr>
            <a:r>
              <a:rPr lang="it-IT" dirty="0">
                <a:solidFill>
                  <a:srgbClr val="313131"/>
                </a:solidFill>
              </a:rPr>
              <a:t> </a:t>
            </a:r>
            <a:r>
              <a:rPr lang="it-IT" dirty="0" err="1">
                <a:solidFill>
                  <a:srgbClr val="313131"/>
                </a:solidFill>
              </a:rPr>
              <a:t>Search</a:t>
            </a:r>
            <a:r>
              <a:rPr lang="it-IT" dirty="0">
                <a:solidFill>
                  <a:srgbClr val="313131"/>
                </a:solidFill>
              </a:rPr>
              <a:t>…</a:t>
            </a:r>
            <a:endParaRPr lang="en-US" dirty="0">
              <a:solidFill>
                <a:srgbClr val="313131"/>
              </a:solidFill>
            </a:endParaRPr>
          </a:p>
        </p:txBody>
      </p:sp>
      <p:sp>
        <p:nvSpPr>
          <p:cNvPr id="17" name="TextBox 16">
            <a:extLst>
              <a:ext uri="{FF2B5EF4-FFF2-40B4-BE49-F238E27FC236}">
                <a16:creationId xmlns:a16="http://schemas.microsoft.com/office/drawing/2014/main" id="{F4AB94FF-1145-40F7-B469-CF577944560F}"/>
              </a:ext>
            </a:extLst>
          </p:cNvPr>
          <p:cNvSpPr txBox="1"/>
          <p:nvPr/>
        </p:nvSpPr>
        <p:spPr>
          <a:xfrm>
            <a:off x="7647088" y="5537475"/>
            <a:ext cx="4530901" cy="276999"/>
          </a:xfrm>
          <a:prstGeom prst="rect">
            <a:avLst/>
          </a:prstGeom>
          <a:noFill/>
        </p:spPr>
        <p:txBody>
          <a:bodyPr wrap="square" lIns="0" tIns="0" rIns="0" bIns="0" rtlCol="0">
            <a:spAutoFit/>
          </a:bodyPr>
          <a:lstStyle/>
          <a:p>
            <a:pPr>
              <a:spcBef>
                <a:spcPts val="600"/>
              </a:spcBef>
              <a:buSzPct val="100000"/>
            </a:pPr>
            <a:r>
              <a:rPr lang="it-IT" dirty="0">
                <a:solidFill>
                  <a:schemeClr val="bg1"/>
                </a:solidFill>
              </a:rPr>
              <a:t> COPY THE FILES TO THIS FOLDER</a:t>
            </a:r>
            <a:endParaRPr lang="en-US" dirty="0">
              <a:solidFill>
                <a:schemeClr val="bg1"/>
              </a:solidFill>
            </a:endParaRPr>
          </a:p>
        </p:txBody>
      </p:sp>
      <p:cxnSp>
        <p:nvCxnSpPr>
          <p:cNvPr id="18" name="Straight Arrow Connector 17">
            <a:extLst>
              <a:ext uri="{FF2B5EF4-FFF2-40B4-BE49-F238E27FC236}">
                <a16:creationId xmlns:a16="http://schemas.microsoft.com/office/drawing/2014/main" id="{B6E8F836-83DA-4F91-A4CE-44845E59FB0A}"/>
              </a:ext>
            </a:extLst>
          </p:cNvPr>
          <p:cNvCxnSpPr>
            <a:cxnSpLocks/>
          </p:cNvCxnSpPr>
          <p:nvPr/>
        </p:nvCxnSpPr>
        <p:spPr>
          <a:xfrm flipV="1">
            <a:off x="4119937" y="2518066"/>
            <a:ext cx="2558265" cy="14794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572BA0D5-B79B-4F9E-9732-D44FD816C8AA}"/>
              </a:ext>
            </a:extLst>
          </p:cNvPr>
          <p:cNvCxnSpPr>
            <a:cxnSpLocks/>
          </p:cNvCxnSpPr>
          <p:nvPr/>
        </p:nvCxnSpPr>
        <p:spPr>
          <a:xfrm>
            <a:off x="3518041" y="5578180"/>
            <a:ext cx="3088242"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7302231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23">
            <a:extLst>
              <a:ext uri="{FF2B5EF4-FFF2-40B4-BE49-F238E27FC236}">
                <a16:creationId xmlns:a16="http://schemas.microsoft.com/office/drawing/2014/main" id="{95515F7B-17FF-4A22-BD5B-1A4DAFF77699}"/>
              </a:ext>
            </a:extLst>
          </p:cNvPr>
          <p:cNvPicPr>
            <a:picLocks noChangeAspect="1" noChangeArrowheads="1"/>
          </p:cNvPicPr>
          <p:nvPr/>
        </p:nvPicPr>
        <p:blipFill>
          <a:blip r:embed="rId2">
            <a:extLst>
              <a:ext uri="{96DAC541-7B7A-43D3-8B79-37D633B846F1}">
                <asvg:svgBlip xmlns:asvg="http://schemas.microsoft.com/office/drawing/2016/SVG/main" r:embed="rId3"/>
              </a:ext>
            </a:extLst>
          </a:blip>
          <a:srcRect/>
          <a:stretch/>
        </p:blipFill>
        <p:spPr bwMode="auto">
          <a:xfrm flipH="1">
            <a:off x="416388" y="2315429"/>
            <a:ext cx="961149" cy="96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0">
            <a:extLst>
              <a:ext uri="{FF2B5EF4-FFF2-40B4-BE49-F238E27FC236}">
                <a16:creationId xmlns:a16="http://schemas.microsoft.com/office/drawing/2014/main" id="{034E10B3-6E7E-427B-BFAD-46F3FEA56AA9}"/>
              </a:ext>
            </a:extLst>
          </p:cNvPr>
          <p:cNvSpPr txBox="1">
            <a:spLocks noChangeArrowheads="1"/>
          </p:cNvSpPr>
          <p:nvPr/>
        </p:nvSpPr>
        <p:spPr bwMode="auto">
          <a:xfrm>
            <a:off x="360387" y="3368476"/>
            <a:ext cx="10731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solidFill>
                  <a:srgbClr val="000000"/>
                </a:solidFill>
                <a:latin typeface="Arial" panose="020B0604020202020204" pitchFamily="34" charset="0"/>
                <a:cs typeface="Arial" panose="020B0604020202020204" pitchFamily="34" charset="0"/>
              </a:rPr>
              <a:t>Users</a:t>
            </a:r>
          </a:p>
        </p:txBody>
      </p:sp>
      <p:cxnSp>
        <p:nvCxnSpPr>
          <p:cNvPr id="4" name="Straight Arrow Connector 3">
            <a:extLst>
              <a:ext uri="{FF2B5EF4-FFF2-40B4-BE49-F238E27FC236}">
                <a16:creationId xmlns:a16="http://schemas.microsoft.com/office/drawing/2014/main" id="{484A5206-08E2-469C-A057-33F9DFB396AE}"/>
              </a:ext>
            </a:extLst>
          </p:cNvPr>
          <p:cNvCxnSpPr>
            <a:cxnSpLocks/>
          </p:cNvCxnSpPr>
          <p:nvPr/>
        </p:nvCxnSpPr>
        <p:spPr>
          <a:xfrm>
            <a:off x="1731973" y="2790811"/>
            <a:ext cx="524339" cy="0"/>
          </a:xfrm>
          <a:prstGeom prst="straightConnector1">
            <a:avLst/>
          </a:prstGeom>
          <a:ln w="12700">
            <a:solidFill>
              <a:schemeClr val="tx2"/>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6" name="Freeform 624">
            <a:extLst>
              <a:ext uri="{FF2B5EF4-FFF2-40B4-BE49-F238E27FC236}">
                <a16:creationId xmlns:a16="http://schemas.microsoft.com/office/drawing/2014/main" id="{D7C0C09D-F3D0-43E1-9BE5-D1EA383ED1EA}"/>
              </a:ext>
            </a:extLst>
          </p:cNvPr>
          <p:cNvSpPr>
            <a:spLocks noChangeAspect="1" noEditPoints="1"/>
          </p:cNvSpPr>
          <p:nvPr/>
        </p:nvSpPr>
        <p:spPr bwMode="auto">
          <a:xfrm>
            <a:off x="2610748" y="2355881"/>
            <a:ext cx="920697" cy="920697"/>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solidFill>
          <a:ln>
            <a:noFill/>
          </a:ln>
        </p:spPr>
        <p:txBody>
          <a:bodyPr vert="horz" wrap="square" lIns="121446" tIns="60723" rIns="121446" bIns="60723" numCol="1" anchor="t" anchorCtr="0" compatLnSpc="1">
            <a:prstTxWarp prst="textNoShape">
              <a:avLst/>
            </a:prstTxWarp>
          </a:bodyPr>
          <a:lstStyle/>
          <a:p>
            <a:endParaRPr lang="en-GB" sz="319"/>
          </a:p>
        </p:txBody>
      </p:sp>
      <p:sp>
        <p:nvSpPr>
          <p:cNvPr id="7" name="TextBox 25">
            <a:extLst>
              <a:ext uri="{FF2B5EF4-FFF2-40B4-BE49-F238E27FC236}">
                <a16:creationId xmlns:a16="http://schemas.microsoft.com/office/drawing/2014/main" id="{EB4C77B7-96CF-49F1-8A6C-71E59D58AB92}"/>
              </a:ext>
            </a:extLst>
          </p:cNvPr>
          <p:cNvSpPr txBox="1">
            <a:spLocks noChangeArrowheads="1"/>
          </p:cNvSpPr>
          <p:nvPr/>
        </p:nvSpPr>
        <p:spPr bwMode="auto">
          <a:xfrm>
            <a:off x="2391488" y="3368476"/>
            <a:ext cx="135921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Arial" panose="020B0604020202020204" pitchFamily="34" charset="0"/>
                <a:ea typeface="Amazon Ember" panose="020B0603020204020204" pitchFamily="34" charset="0"/>
                <a:cs typeface="Arial" panose="020B0604020202020204" pitchFamily="34" charset="0"/>
              </a:rPr>
              <a:t>Application</a:t>
            </a:r>
          </a:p>
        </p:txBody>
      </p:sp>
      <p:pic>
        <p:nvPicPr>
          <p:cNvPr id="10" name="Graphic 31">
            <a:extLst>
              <a:ext uri="{FF2B5EF4-FFF2-40B4-BE49-F238E27FC236}">
                <a16:creationId xmlns:a16="http://schemas.microsoft.com/office/drawing/2014/main" id="{1C8A544D-4954-4E6E-8528-231281788D9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59425" y="2355881"/>
            <a:ext cx="961149" cy="96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25">
            <a:extLst>
              <a:ext uri="{FF2B5EF4-FFF2-40B4-BE49-F238E27FC236}">
                <a16:creationId xmlns:a16="http://schemas.microsoft.com/office/drawing/2014/main" id="{F8649AA4-9FC6-426C-93A1-7E3E90200122}"/>
              </a:ext>
            </a:extLst>
          </p:cNvPr>
          <p:cNvSpPr txBox="1">
            <a:spLocks noChangeArrowheads="1"/>
          </p:cNvSpPr>
          <p:nvPr/>
        </p:nvSpPr>
        <p:spPr bwMode="auto">
          <a:xfrm>
            <a:off x="5416391" y="3368476"/>
            <a:ext cx="135921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Arial" panose="020B0604020202020204" pitchFamily="34" charset="0"/>
                <a:ea typeface="Amazon Ember" panose="020B0603020204020204" pitchFamily="34" charset="0"/>
                <a:cs typeface="Arial" panose="020B0604020202020204" pitchFamily="34" charset="0"/>
              </a:rPr>
              <a:t>Amazon S3 Bucket</a:t>
            </a:r>
          </a:p>
        </p:txBody>
      </p:sp>
      <p:pic>
        <p:nvPicPr>
          <p:cNvPr id="12" name="Graphic 8">
            <a:extLst>
              <a:ext uri="{FF2B5EF4-FFF2-40B4-BE49-F238E27FC236}">
                <a16:creationId xmlns:a16="http://schemas.microsoft.com/office/drawing/2014/main" id="{9D0A5935-F1E0-4B26-8D7D-0A247F3D6B74}"/>
              </a:ext>
            </a:extLst>
          </p:cNvPr>
          <p:cNvPicPr>
            <a:picLocks noChangeAspect="1" noChangeArrowheads="1"/>
          </p:cNvPicPr>
          <p:nvPr/>
        </p:nvPicPr>
        <p:blipFill>
          <a:blip r:embed="rId5">
            <a:extLst>
              <a:ext uri="{96DAC541-7B7A-43D3-8B79-37D633B846F1}">
                <asvg:svgBlip xmlns:asvg="http://schemas.microsoft.com/office/drawing/2016/SVG/main" r:embed="rId6"/>
              </a:ext>
            </a:extLst>
          </a:blip>
          <a:srcRect/>
          <a:stretch/>
        </p:blipFill>
        <p:spPr bwMode="auto">
          <a:xfrm>
            <a:off x="5721922" y="1260831"/>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25">
            <a:extLst>
              <a:ext uri="{FF2B5EF4-FFF2-40B4-BE49-F238E27FC236}">
                <a16:creationId xmlns:a16="http://schemas.microsoft.com/office/drawing/2014/main" id="{D5FFD51A-CA12-4A40-B3CB-47BABF22C28F}"/>
              </a:ext>
            </a:extLst>
          </p:cNvPr>
          <p:cNvSpPr txBox="1">
            <a:spLocks noChangeArrowheads="1"/>
          </p:cNvSpPr>
          <p:nvPr/>
        </p:nvSpPr>
        <p:spPr bwMode="auto">
          <a:xfrm>
            <a:off x="1320885" y="2277821"/>
            <a:ext cx="135921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err="1">
                <a:latin typeface="Arial" panose="020B0604020202020204" pitchFamily="34" charset="0"/>
                <a:ea typeface="Amazon Ember" panose="020B0603020204020204" pitchFamily="34" charset="0"/>
                <a:cs typeface="Arial" panose="020B0604020202020204" pitchFamily="34" charset="0"/>
              </a:rPr>
              <a:t>Tramite</a:t>
            </a:r>
            <a:r>
              <a:rPr lang="en-US" altLang="en-US" sz="1100" dirty="0">
                <a:latin typeface="Arial" panose="020B0604020202020204" pitchFamily="34" charset="0"/>
                <a:ea typeface="Amazon Ember" panose="020B0603020204020204" pitchFamily="34" charset="0"/>
                <a:cs typeface="Arial" panose="020B0604020202020204" pitchFamily="34" charset="0"/>
              </a:rPr>
              <a:t> </a:t>
            </a:r>
            <a:r>
              <a:rPr lang="en-US" altLang="en-US" sz="1100" dirty="0" err="1">
                <a:latin typeface="Arial" panose="020B0604020202020204" pitchFamily="34" charset="0"/>
                <a:ea typeface="Amazon Ember" panose="020B0603020204020204" pitchFamily="34" charset="0"/>
                <a:cs typeface="Arial" panose="020B0604020202020204" pitchFamily="34" charset="0"/>
              </a:rPr>
              <a:t>L’Application</a:t>
            </a:r>
            <a:r>
              <a:rPr lang="en-US" altLang="en-US" sz="1100" dirty="0">
                <a:latin typeface="Arial" panose="020B0604020202020204" pitchFamily="34" charset="0"/>
                <a:ea typeface="Amazon Ember" panose="020B0603020204020204" pitchFamily="34" charset="0"/>
                <a:cs typeface="Arial" panose="020B0604020202020204" pitchFamily="34" charset="0"/>
              </a:rPr>
              <a:t> API</a:t>
            </a:r>
          </a:p>
        </p:txBody>
      </p:sp>
      <p:sp>
        <p:nvSpPr>
          <p:cNvPr id="15" name="TextBox 25">
            <a:extLst>
              <a:ext uri="{FF2B5EF4-FFF2-40B4-BE49-F238E27FC236}">
                <a16:creationId xmlns:a16="http://schemas.microsoft.com/office/drawing/2014/main" id="{1E7E952C-BB23-4363-92AD-956ABB4CB95C}"/>
              </a:ext>
            </a:extLst>
          </p:cNvPr>
          <p:cNvSpPr txBox="1">
            <a:spLocks noChangeArrowheads="1"/>
          </p:cNvSpPr>
          <p:nvPr/>
        </p:nvSpPr>
        <p:spPr bwMode="auto">
          <a:xfrm>
            <a:off x="3880253" y="2272041"/>
            <a:ext cx="135921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en-US" sz="1100" dirty="0" err="1">
                <a:latin typeface="Arial" panose="020B0604020202020204" pitchFamily="34" charset="0"/>
                <a:ea typeface="Amazon Ember" panose="020B0603020204020204" pitchFamily="34" charset="0"/>
                <a:cs typeface="Arial" panose="020B0604020202020204" pitchFamily="34" charset="0"/>
              </a:rPr>
              <a:t>Scelgiamo</a:t>
            </a:r>
            <a:r>
              <a:rPr lang="it-IT" altLang="en-US" sz="1100" dirty="0">
                <a:latin typeface="Arial" panose="020B0604020202020204" pitchFamily="34" charset="0"/>
                <a:ea typeface="Amazon Ember" panose="020B0603020204020204" pitchFamily="34" charset="0"/>
                <a:cs typeface="Arial" panose="020B0604020202020204" pitchFamily="34" charset="0"/>
              </a:rPr>
              <a:t> un file </a:t>
            </a:r>
            <a:r>
              <a:rPr lang="it-IT" altLang="en-US" sz="1100" dirty="0" err="1">
                <a:latin typeface="Arial" panose="020B0604020202020204" pitchFamily="34" charset="0"/>
                <a:ea typeface="Amazon Ember" panose="020B0603020204020204" pitchFamily="34" charset="0"/>
                <a:cs typeface="Arial" panose="020B0604020202020204" pitchFamily="34" charset="0"/>
              </a:rPr>
              <a:t>oggeto</a:t>
            </a:r>
            <a:r>
              <a:rPr lang="it-IT" altLang="en-US" sz="1100" dirty="0">
                <a:latin typeface="Arial" panose="020B0604020202020204" pitchFamily="34" charset="0"/>
                <a:ea typeface="Amazon Ember" panose="020B0603020204020204" pitchFamily="34" charset="0"/>
                <a:cs typeface="Arial" panose="020B0604020202020204" pitchFamily="34" charset="0"/>
              </a:rPr>
              <a:t> dal S3</a:t>
            </a:r>
            <a:endParaRPr lang="en-US" altLang="en-US" sz="1100" dirty="0">
              <a:latin typeface="Arial" panose="020B0604020202020204" pitchFamily="34" charset="0"/>
              <a:ea typeface="Amazon Ember" panose="020B0603020204020204" pitchFamily="34" charset="0"/>
              <a:cs typeface="Arial" panose="020B0604020202020204" pitchFamily="34" charset="0"/>
            </a:endParaRPr>
          </a:p>
        </p:txBody>
      </p:sp>
      <p:cxnSp>
        <p:nvCxnSpPr>
          <p:cNvPr id="16" name="Straight Arrow Connector 15">
            <a:extLst>
              <a:ext uri="{FF2B5EF4-FFF2-40B4-BE49-F238E27FC236}">
                <a16:creationId xmlns:a16="http://schemas.microsoft.com/office/drawing/2014/main" id="{AA20E8D0-D32F-4D1A-9900-E35C955AE437}"/>
              </a:ext>
            </a:extLst>
          </p:cNvPr>
          <p:cNvCxnSpPr>
            <a:cxnSpLocks/>
          </p:cNvCxnSpPr>
          <p:nvPr/>
        </p:nvCxnSpPr>
        <p:spPr>
          <a:xfrm>
            <a:off x="3927800" y="2816229"/>
            <a:ext cx="1264122"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1552811F-CD79-474A-AFEE-254212780756}"/>
              </a:ext>
            </a:extLst>
          </p:cNvPr>
          <p:cNvCxnSpPr>
            <a:cxnSpLocks/>
          </p:cNvCxnSpPr>
          <p:nvPr/>
        </p:nvCxnSpPr>
        <p:spPr>
          <a:xfrm>
            <a:off x="3556969" y="3799239"/>
            <a:ext cx="1859422" cy="1734662"/>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pic>
        <p:nvPicPr>
          <p:cNvPr id="21" name="Picture 20" descr="A picture containing text, clipart&#10;&#10;Description automatically generated">
            <a:extLst>
              <a:ext uri="{FF2B5EF4-FFF2-40B4-BE49-F238E27FC236}">
                <a16:creationId xmlns:a16="http://schemas.microsoft.com/office/drawing/2014/main" id="{85E9A4E2-047B-4CB0-9625-46858F4B89DE}"/>
              </a:ext>
            </a:extLst>
          </p:cNvPr>
          <p:cNvPicPr>
            <a:picLocks noChangeAspect="1"/>
          </p:cNvPicPr>
          <p:nvPr/>
        </p:nvPicPr>
        <p:blipFill>
          <a:blip r:embed="rId7"/>
          <a:stretch>
            <a:fillRect/>
          </a:stretch>
        </p:blipFill>
        <p:spPr>
          <a:xfrm>
            <a:off x="5416391" y="5198835"/>
            <a:ext cx="2143588" cy="765829"/>
          </a:xfrm>
          <a:prstGeom prst="rect">
            <a:avLst/>
          </a:prstGeom>
        </p:spPr>
      </p:pic>
      <p:sp>
        <p:nvSpPr>
          <p:cNvPr id="22" name="TextBox 25">
            <a:extLst>
              <a:ext uri="{FF2B5EF4-FFF2-40B4-BE49-F238E27FC236}">
                <a16:creationId xmlns:a16="http://schemas.microsoft.com/office/drawing/2014/main" id="{552347CD-6719-4C89-BB48-5D7A5E56AF34}"/>
              </a:ext>
            </a:extLst>
          </p:cNvPr>
          <p:cNvSpPr txBox="1">
            <a:spLocks noChangeArrowheads="1"/>
          </p:cNvSpPr>
          <p:nvPr/>
        </p:nvSpPr>
        <p:spPr bwMode="auto">
          <a:xfrm>
            <a:off x="5416391" y="6064310"/>
            <a:ext cx="135921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err="1">
                <a:latin typeface="Arial" panose="020B0604020202020204" pitchFamily="34" charset="0"/>
                <a:ea typeface="Amazon Ember" panose="020B0603020204020204" pitchFamily="34" charset="0"/>
                <a:cs typeface="Arial" panose="020B0604020202020204" pitchFamily="34" charset="0"/>
              </a:rPr>
              <a:t>Cubbit</a:t>
            </a:r>
            <a:r>
              <a:rPr lang="en-US" altLang="en-US" sz="1100" dirty="0">
                <a:latin typeface="Arial" panose="020B0604020202020204" pitchFamily="34" charset="0"/>
                <a:ea typeface="Amazon Ember" panose="020B0603020204020204" pitchFamily="34" charset="0"/>
                <a:cs typeface="Arial" panose="020B0604020202020204" pitchFamily="34" charset="0"/>
              </a:rPr>
              <a:t> S3</a:t>
            </a:r>
          </a:p>
          <a:p>
            <a:pPr algn="ctr" eaLnBrk="1" hangingPunct="1"/>
            <a:r>
              <a:rPr lang="en-US" altLang="en-US" sz="1100" dirty="0">
                <a:latin typeface="Arial" panose="020B0604020202020204" pitchFamily="34" charset="0"/>
                <a:ea typeface="Amazon Ember" panose="020B0603020204020204" pitchFamily="34" charset="0"/>
                <a:cs typeface="Arial" panose="020B0604020202020204" pitchFamily="34" charset="0"/>
              </a:rPr>
              <a:t> Bucket</a:t>
            </a:r>
          </a:p>
        </p:txBody>
      </p:sp>
      <p:sp>
        <p:nvSpPr>
          <p:cNvPr id="25" name="TextBox 25">
            <a:extLst>
              <a:ext uri="{FF2B5EF4-FFF2-40B4-BE49-F238E27FC236}">
                <a16:creationId xmlns:a16="http://schemas.microsoft.com/office/drawing/2014/main" id="{68669A6E-6DFB-44F5-8325-6033C01DD3E8}"/>
              </a:ext>
            </a:extLst>
          </p:cNvPr>
          <p:cNvSpPr txBox="1">
            <a:spLocks noChangeArrowheads="1"/>
          </p:cNvSpPr>
          <p:nvPr/>
        </p:nvSpPr>
        <p:spPr bwMode="auto">
          <a:xfrm>
            <a:off x="3050944" y="4451126"/>
            <a:ext cx="135921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err="1">
                <a:latin typeface="Arial" panose="020B0604020202020204" pitchFamily="34" charset="0"/>
                <a:ea typeface="Amazon Ember" panose="020B0603020204020204" pitchFamily="34" charset="0"/>
                <a:cs typeface="Arial" panose="020B0604020202020204" pitchFamily="34" charset="0"/>
              </a:rPr>
              <a:t>Carchiamo</a:t>
            </a:r>
            <a:r>
              <a:rPr lang="en-US" altLang="en-US" sz="1100" dirty="0">
                <a:latin typeface="Arial" panose="020B0604020202020204" pitchFamily="34" charset="0"/>
                <a:ea typeface="Amazon Ember" panose="020B0603020204020204" pitchFamily="34" charset="0"/>
                <a:cs typeface="Arial" panose="020B0604020202020204" pitchFamily="34" charset="0"/>
              </a:rPr>
              <a:t> la file AWS S3 </a:t>
            </a:r>
            <a:r>
              <a:rPr lang="en-US" altLang="en-US" sz="1100" dirty="0" err="1">
                <a:latin typeface="Arial" panose="020B0604020202020204" pitchFamily="34" charset="0"/>
                <a:ea typeface="Amazon Ember" panose="020B0603020204020204" pitchFamily="34" charset="0"/>
                <a:cs typeface="Arial" panose="020B0604020202020204" pitchFamily="34" charset="0"/>
              </a:rPr>
              <a:t>su</a:t>
            </a:r>
            <a:r>
              <a:rPr lang="en-US" altLang="en-US" sz="1100" dirty="0">
                <a:latin typeface="Arial" panose="020B0604020202020204" pitchFamily="34" charset="0"/>
                <a:ea typeface="Amazon Ember" panose="020B0603020204020204" pitchFamily="34" charset="0"/>
                <a:cs typeface="Arial" panose="020B0604020202020204" pitchFamily="34" charset="0"/>
              </a:rPr>
              <a:t> </a:t>
            </a:r>
            <a:r>
              <a:rPr lang="en-US" altLang="en-US" sz="1100" dirty="0" err="1">
                <a:latin typeface="Arial" panose="020B0604020202020204" pitchFamily="34" charset="0"/>
                <a:ea typeface="Amazon Ember" panose="020B0603020204020204" pitchFamily="34" charset="0"/>
                <a:cs typeface="Arial" panose="020B0604020202020204" pitchFamily="34" charset="0"/>
              </a:rPr>
              <a:t>Cubbit</a:t>
            </a:r>
            <a:endParaRPr lang="en-US" altLang="en-US" sz="1100" dirty="0">
              <a:latin typeface="Arial" panose="020B0604020202020204" pitchFamily="34" charset="0"/>
              <a:ea typeface="Amazon Ember" panose="020B0603020204020204" pitchFamily="34" charset="0"/>
              <a:cs typeface="Arial" panose="020B0604020202020204" pitchFamily="34" charset="0"/>
            </a:endParaRPr>
          </a:p>
        </p:txBody>
      </p:sp>
      <p:pic>
        <p:nvPicPr>
          <p:cNvPr id="26" name="Graphic 16">
            <a:extLst>
              <a:ext uri="{FF2B5EF4-FFF2-40B4-BE49-F238E27FC236}">
                <a16:creationId xmlns:a16="http://schemas.microsoft.com/office/drawing/2014/main" id="{278077FC-F67F-41F3-9BE1-5C58BF1755B9}"/>
              </a:ext>
            </a:extLst>
          </p:cNvPr>
          <p:cNvPicPr>
            <a:picLocks noChangeAspect="1" noChangeArrowheads="1"/>
          </p:cNvPicPr>
          <p:nvPr/>
        </p:nvPicPr>
        <p:blipFill>
          <a:blip r:embed="rId8">
            <a:extLst>
              <a:ext uri="{96DAC541-7B7A-43D3-8B79-37D633B846F1}">
                <asvg:svgBlip xmlns:asvg="http://schemas.microsoft.com/office/drawing/2016/SVG/main" r:embed="rId9"/>
              </a:ext>
            </a:extLst>
          </a:blip>
          <a:srcRect/>
          <a:stretch/>
        </p:blipFill>
        <p:spPr bwMode="auto">
          <a:xfrm>
            <a:off x="5721922" y="127853"/>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Graphic 8">
            <a:extLst>
              <a:ext uri="{FF2B5EF4-FFF2-40B4-BE49-F238E27FC236}">
                <a16:creationId xmlns:a16="http://schemas.microsoft.com/office/drawing/2014/main" id="{6EB8A6BC-1D2B-48CC-ADE0-6F13A046BE13}"/>
              </a:ext>
            </a:extLst>
          </p:cNvPr>
          <p:cNvPicPr>
            <a:picLocks noChangeAspect="1" noChangeArrowheads="1"/>
          </p:cNvPicPr>
          <p:nvPr/>
        </p:nvPicPr>
        <p:blipFill>
          <a:blip r:embed="rId5">
            <a:extLst>
              <a:ext uri="{96DAC541-7B7A-43D3-8B79-37D633B846F1}">
                <asvg:svgBlip xmlns:asvg="http://schemas.microsoft.com/office/drawing/2016/SVG/main" r:embed="rId6"/>
              </a:ext>
            </a:extLst>
          </a:blip>
          <a:srcRect/>
          <a:stretch/>
        </p:blipFill>
        <p:spPr bwMode="auto">
          <a:xfrm>
            <a:off x="5721922" y="4098410"/>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Graphic 16">
            <a:extLst>
              <a:ext uri="{FF2B5EF4-FFF2-40B4-BE49-F238E27FC236}">
                <a16:creationId xmlns:a16="http://schemas.microsoft.com/office/drawing/2014/main" id="{1DD9ED1A-4F85-4A97-9A78-6B7371C28F0E}"/>
              </a:ext>
            </a:extLst>
          </p:cNvPr>
          <p:cNvPicPr>
            <a:picLocks noChangeAspect="1" noChangeArrowheads="1"/>
          </p:cNvPicPr>
          <p:nvPr/>
        </p:nvPicPr>
        <p:blipFill>
          <a:blip r:embed="rId8">
            <a:extLst>
              <a:ext uri="{96DAC541-7B7A-43D3-8B79-37D633B846F1}">
                <asvg:svgBlip xmlns:asvg="http://schemas.microsoft.com/office/drawing/2016/SVG/main" r:embed="rId9"/>
              </a:ext>
            </a:extLst>
          </a:blip>
          <a:srcRect/>
          <a:stretch/>
        </p:blipFill>
        <p:spPr bwMode="auto">
          <a:xfrm>
            <a:off x="6803315" y="4098410"/>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1" name="Straight Arrow Connector 30">
            <a:extLst>
              <a:ext uri="{FF2B5EF4-FFF2-40B4-BE49-F238E27FC236}">
                <a16:creationId xmlns:a16="http://schemas.microsoft.com/office/drawing/2014/main" id="{1A3385AA-4BDB-4F2C-A718-1C4E544ACE51}"/>
              </a:ext>
            </a:extLst>
          </p:cNvPr>
          <p:cNvCxnSpPr>
            <a:cxnSpLocks/>
          </p:cNvCxnSpPr>
          <p:nvPr/>
        </p:nvCxnSpPr>
        <p:spPr>
          <a:xfrm>
            <a:off x="6316649" y="4295899"/>
            <a:ext cx="407850" cy="0"/>
          </a:xfrm>
          <a:prstGeom prst="straightConnector1">
            <a:avLst/>
          </a:prstGeom>
          <a:ln w="12700">
            <a:solidFill>
              <a:schemeClr val="tx2"/>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16F044A-CE1B-4111-A5F6-468DE8545957}"/>
              </a:ext>
            </a:extLst>
          </p:cNvPr>
          <p:cNvCxnSpPr>
            <a:cxnSpLocks/>
          </p:cNvCxnSpPr>
          <p:nvPr/>
        </p:nvCxnSpPr>
        <p:spPr>
          <a:xfrm flipV="1">
            <a:off x="5943179" y="4665378"/>
            <a:ext cx="0" cy="433269"/>
          </a:xfrm>
          <a:prstGeom prst="straightConnector1">
            <a:avLst/>
          </a:prstGeom>
          <a:ln w="12700">
            <a:solidFill>
              <a:schemeClr val="tx2"/>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22F4019-805C-401C-A1A7-2717771D8198}"/>
              </a:ext>
            </a:extLst>
          </p:cNvPr>
          <p:cNvCxnSpPr>
            <a:cxnSpLocks/>
          </p:cNvCxnSpPr>
          <p:nvPr/>
        </p:nvCxnSpPr>
        <p:spPr>
          <a:xfrm flipV="1">
            <a:off x="5943179" y="708916"/>
            <a:ext cx="0" cy="433269"/>
          </a:xfrm>
          <a:prstGeom prst="straightConnector1">
            <a:avLst/>
          </a:prstGeom>
          <a:ln w="12700">
            <a:solidFill>
              <a:schemeClr val="tx2"/>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EE149CD4-AC19-47A1-89EF-21B5BAC4329E}"/>
              </a:ext>
            </a:extLst>
          </p:cNvPr>
          <p:cNvCxnSpPr>
            <a:cxnSpLocks/>
          </p:cNvCxnSpPr>
          <p:nvPr/>
        </p:nvCxnSpPr>
        <p:spPr>
          <a:xfrm flipV="1">
            <a:off x="5943179" y="1838772"/>
            <a:ext cx="0" cy="433269"/>
          </a:xfrm>
          <a:prstGeom prst="straightConnector1">
            <a:avLst/>
          </a:prstGeom>
          <a:ln w="12700">
            <a:solidFill>
              <a:schemeClr val="tx2"/>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C58AA4CE-6295-45DA-99F0-4ED2D1DE0A3D}"/>
              </a:ext>
            </a:extLst>
          </p:cNvPr>
          <p:cNvSpPr txBox="1"/>
          <p:nvPr/>
        </p:nvSpPr>
        <p:spPr>
          <a:xfrm>
            <a:off x="6635338" y="2651789"/>
            <a:ext cx="609797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rgbClr val="FF0000"/>
                </a:solidFill>
                <a:effectLst/>
                <a:latin typeface="+mn-lt"/>
                <a:ea typeface="+mn-ea"/>
                <a:cs typeface="+mn-cs"/>
              </a:rPr>
              <a:t>account-id</a:t>
            </a:r>
            <a:r>
              <a:rPr lang="en-US" sz="1800" b="0" i="0" kern="1200" dirty="0">
                <a:solidFill>
                  <a:schemeClr val="dk1"/>
                </a:solidFill>
                <a:effectLst/>
                <a:latin typeface="+mn-lt"/>
                <a:ea typeface="+mn-ea"/>
                <a:cs typeface="+mn-cs"/>
              </a:rPr>
              <a:t>.s3-control.eu-central-1.amazonaws.com</a:t>
            </a:r>
          </a:p>
        </p:txBody>
      </p:sp>
      <p:sp>
        <p:nvSpPr>
          <p:cNvPr id="45" name="TextBox 44">
            <a:extLst>
              <a:ext uri="{FF2B5EF4-FFF2-40B4-BE49-F238E27FC236}">
                <a16:creationId xmlns:a16="http://schemas.microsoft.com/office/drawing/2014/main" id="{137F98F5-37C4-4854-BA38-83446EE571CD}"/>
              </a:ext>
            </a:extLst>
          </p:cNvPr>
          <p:cNvSpPr txBox="1"/>
          <p:nvPr/>
        </p:nvSpPr>
        <p:spPr>
          <a:xfrm>
            <a:off x="7559979" y="5480187"/>
            <a:ext cx="609797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chemeClr val="dk1"/>
                </a:solidFill>
                <a:effectLst/>
                <a:latin typeface="+mn-lt"/>
                <a:ea typeface="+mn-ea"/>
                <a:cs typeface="+mn-cs"/>
              </a:rPr>
              <a:t>https://s3.cubbit.eu</a:t>
            </a:r>
          </a:p>
          <a:p>
            <a:endParaRPr lang="en-US" dirty="0"/>
          </a:p>
        </p:txBody>
      </p:sp>
    </p:spTree>
    <p:extLst>
      <p:ext uri="{BB962C8B-B14F-4D97-AF65-F5344CB8AC3E}">
        <p14:creationId xmlns:p14="http://schemas.microsoft.com/office/powerpoint/2010/main" val="279054787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097C650-0F7A-4176-B182-2E84211284E4}"/>
              </a:ext>
            </a:extLst>
          </p:cNvPr>
          <p:cNvGraphicFramePr/>
          <p:nvPr>
            <p:extLst>
              <p:ext uri="{D42A27DB-BD31-4B8C-83A1-F6EECF244321}">
                <p14:modId xmlns:p14="http://schemas.microsoft.com/office/powerpoint/2010/main" val="2042109001"/>
              </p:ext>
            </p:extLst>
          </p:nvPr>
        </p:nvGraphicFramePr>
        <p:xfrm>
          <a:off x="591787" y="130628"/>
          <a:ext cx="11008426" cy="43582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a:extLst>
              <a:ext uri="{FF2B5EF4-FFF2-40B4-BE49-F238E27FC236}">
                <a16:creationId xmlns:a16="http://schemas.microsoft.com/office/drawing/2014/main" id="{75CE4EC3-A2E4-42D8-AE81-931608669C41}"/>
              </a:ext>
            </a:extLst>
          </p:cNvPr>
          <p:cNvSpPr txBox="1">
            <a:spLocks/>
          </p:cNvSpPr>
          <p:nvPr/>
        </p:nvSpPr>
        <p:spPr>
          <a:xfrm>
            <a:off x="501650" y="1016001"/>
            <a:ext cx="11188700" cy="698501"/>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it-IT" dirty="0">
                <a:cs typeface="Calibri Light"/>
              </a:rPr>
              <a:t>UC 2:  TRASFERIMENTO FILE DA CUBBIT AD AWS</a:t>
            </a:r>
            <a:endParaRPr lang="en-US" dirty="0">
              <a:cs typeface="Calibri Light"/>
            </a:endParaRPr>
          </a:p>
        </p:txBody>
      </p:sp>
      <p:sp>
        <p:nvSpPr>
          <p:cNvPr id="4" name="Title 2">
            <a:extLst>
              <a:ext uri="{FF2B5EF4-FFF2-40B4-BE49-F238E27FC236}">
                <a16:creationId xmlns:a16="http://schemas.microsoft.com/office/drawing/2014/main" id="{05A614C6-2D41-4DA4-B55D-7F65BC89BD42}"/>
              </a:ext>
            </a:extLst>
          </p:cNvPr>
          <p:cNvSpPr txBox="1">
            <a:spLocks/>
          </p:cNvSpPr>
          <p:nvPr/>
        </p:nvSpPr>
        <p:spPr>
          <a:xfrm>
            <a:off x="501650" y="317500"/>
            <a:ext cx="11188700" cy="698501"/>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it-IT" dirty="0">
                <a:cs typeface="Calibri Light"/>
              </a:rPr>
              <a:t>APPLICAZIONE - Workflow</a:t>
            </a:r>
            <a:endParaRPr lang="en-US" dirty="0"/>
          </a:p>
        </p:txBody>
      </p:sp>
      <p:sp>
        <p:nvSpPr>
          <p:cNvPr id="5" name="Title 2">
            <a:extLst>
              <a:ext uri="{FF2B5EF4-FFF2-40B4-BE49-F238E27FC236}">
                <a16:creationId xmlns:a16="http://schemas.microsoft.com/office/drawing/2014/main" id="{CA85306C-5E6D-400E-A872-96F0EFE96FEA}"/>
              </a:ext>
            </a:extLst>
          </p:cNvPr>
          <p:cNvSpPr txBox="1">
            <a:spLocks/>
          </p:cNvSpPr>
          <p:nvPr/>
        </p:nvSpPr>
        <p:spPr>
          <a:xfrm>
            <a:off x="406646" y="3131523"/>
            <a:ext cx="3369295" cy="698501"/>
          </a:xfrm>
          <a:prstGeom prst="rect">
            <a:avLst/>
          </a:prstGeom>
        </p:spPr>
        <p:txBody>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it-IT" dirty="0"/>
              <a:t>AWS S3 API</a:t>
            </a:r>
            <a:endParaRPr lang="en-US" dirty="0"/>
          </a:p>
        </p:txBody>
      </p:sp>
      <p:graphicFrame>
        <p:nvGraphicFramePr>
          <p:cNvPr id="6" name="Table 5">
            <a:extLst>
              <a:ext uri="{FF2B5EF4-FFF2-40B4-BE49-F238E27FC236}">
                <a16:creationId xmlns:a16="http://schemas.microsoft.com/office/drawing/2014/main" id="{F4286ECA-97D6-45A4-80FE-090ECF950392}"/>
              </a:ext>
            </a:extLst>
          </p:cNvPr>
          <p:cNvGraphicFramePr>
            <a:graphicFrameLocks noGrp="1"/>
          </p:cNvGraphicFramePr>
          <p:nvPr>
            <p:extLst>
              <p:ext uri="{D42A27DB-BD31-4B8C-83A1-F6EECF244321}">
                <p14:modId xmlns:p14="http://schemas.microsoft.com/office/powerpoint/2010/main" val="1045706609"/>
              </p:ext>
            </p:extLst>
          </p:nvPr>
        </p:nvGraphicFramePr>
        <p:xfrm>
          <a:off x="501650" y="3497431"/>
          <a:ext cx="8127999" cy="128016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3510912573"/>
                    </a:ext>
                  </a:extLst>
                </a:gridCol>
                <a:gridCol w="2709333">
                  <a:extLst>
                    <a:ext uri="{9D8B030D-6E8A-4147-A177-3AD203B41FA5}">
                      <a16:colId xmlns:a16="http://schemas.microsoft.com/office/drawing/2014/main" val="3048296827"/>
                    </a:ext>
                  </a:extLst>
                </a:gridCol>
                <a:gridCol w="2709333">
                  <a:extLst>
                    <a:ext uri="{9D8B030D-6E8A-4147-A177-3AD203B41FA5}">
                      <a16:colId xmlns:a16="http://schemas.microsoft.com/office/drawing/2014/main" val="1962071745"/>
                    </a:ext>
                  </a:extLst>
                </a:gridCol>
              </a:tblGrid>
              <a:tr h="253472">
                <a:tc>
                  <a:txBody>
                    <a:bodyPr/>
                    <a:lstStyle/>
                    <a:p>
                      <a:r>
                        <a:rPr lang="it-IT" dirty="0"/>
                        <a:t>REGION</a:t>
                      </a:r>
                      <a:endParaRPr lang="en-US" dirty="0"/>
                    </a:p>
                  </a:txBody>
                  <a:tcPr/>
                </a:tc>
                <a:tc>
                  <a:txBody>
                    <a:bodyPr/>
                    <a:lstStyle/>
                    <a:p>
                      <a:r>
                        <a:rPr lang="it-IT" dirty="0"/>
                        <a:t>ENDPOINT</a:t>
                      </a:r>
                      <a:endParaRPr lang="en-US" dirty="0"/>
                    </a:p>
                  </a:txBody>
                  <a:tcPr/>
                </a:tc>
                <a:tc>
                  <a:txBody>
                    <a:bodyPr/>
                    <a:lstStyle/>
                    <a:p>
                      <a:r>
                        <a:rPr lang="it-IT" dirty="0"/>
                        <a:t>PROTOCOL</a:t>
                      </a:r>
                      <a:endParaRPr lang="en-US" dirty="0"/>
                    </a:p>
                  </a:txBody>
                  <a:tcPr/>
                </a:tc>
                <a:extLst>
                  <a:ext uri="{0D108BD9-81ED-4DB2-BD59-A6C34878D82A}">
                    <a16:rowId xmlns:a16="http://schemas.microsoft.com/office/drawing/2014/main" val="2370223243"/>
                  </a:ext>
                </a:extLst>
              </a:tr>
              <a:tr h="801207">
                <a:tc>
                  <a:txBody>
                    <a:bodyPr/>
                    <a:lstStyle/>
                    <a:p>
                      <a:r>
                        <a:rPr lang="en-US" sz="1800" b="0" i="0" kern="1200" dirty="0">
                          <a:solidFill>
                            <a:schemeClr val="dk1"/>
                          </a:solidFill>
                          <a:effectLst/>
                          <a:latin typeface="+mn-lt"/>
                          <a:ea typeface="+mn-ea"/>
                          <a:cs typeface="+mn-cs"/>
                        </a:rPr>
                        <a:t>eu-central-1</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rgbClr val="FF0000"/>
                          </a:solidFill>
                          <a:effectLst/>
                          <a:latin typeface="+mn-lt"/>
                          <a:ea typeface="+mn-ea"/>
                          <a:cs typeface="+mn-cs"/>
                        </a:rPr>
                        <a:t>account-id</a:t>
                      </a:r>
                      <a:r>
                        <a:rPr lang="en-US" sz="1800" b="0" i="0" kern="1200" dirty="0">
                          <a:solidFill>
                            <a:schemeClr val="dk1"/>
                          </a:solidFill>
                          <a:effectLst/>
                          <a:latin typeface="+mn-lt"/>
                          <a:ea typeface="+mn-ea"/>
                          <a:cs typeface="+mn-cs"/>
                        </a:rPr>
                        <a:t>.s3-control.eu-central-1.amazonaws.com</a:t>
                      </a:r>
                    </a:p>
                    <a:p>
                      <a:endParaRPr lang="en-US" dirty="0"/>
                    </a:p>
                  </a:txBody>
                  <a:tcPr/>
                </a:tc>
                <a:tc>
                  <a:txBody>
                    <a:bodyPr/>
                    <a:lstStyle/>
                    <a:p>
                      <a:r>
                        <a:rPr lang="en-US" sz="1800" b="0" i="0" kern="1200" dirty="0">
                          <a:solidFill>
                            <a:schemeClr val="dk1"/>
                          </a:solidFill>
                          <a:effectLst/>
                          <a:latin typeface="+mn-lt"/>
                          <a:ea typeface="+mn-ea"/>
                          <a:cs typeface="+mn-cs"/>
                        </a:rPr>
                        <a:t>HTTP and HTTPS</a:t>
                      </a:r>
                      <a:endParaRPr lang="en-US" dirty="0"/>
                    </a:p>
                  </a:txBody>
                  <a:tcPr/>
                </a:tc>
                <a:extLst>
                  <a:ext uri="{0D108BD9-81ED-4DB2-BD59-A6C34878D82A}">
                    <a16:rowId xmlns:a16="http://schemas.microsoft.com/office/drawing/2014/main" val="490786796"/>
                  </a:ext>
                </a:extLst>
              </a:tr>
            </a:tbl>
          </a:graphicData>
        </a:graphic>
      </p:graphicFrame>
      <p:sp>
        <p:nvSpPr>
          <p:cNvPr id="7" name="Title 2">
            <a:extLst>
              <a:ext uri="{FF2B5EF4-FFF2-40B4-BE49-F238E27FC236}">
                <a16:creationId xmlns:a16="http://schemas.microsoft.com/office/drawing/2014/main" id="{A996347F-F866-4A83-9998-6FD1E487C4CF}"/>
              </a:ext>
            </a:extLst>
          </p:cNvPr>
          <p:cNvSpPr txBox="1">
            <a:spLocks/>
          </p:cNvSpPr>
          <p:nvPr/>
        </p:nvSpPr>
        <p:spPr>
          <a:xfrm>
            <a:off x="406646" y="4897794"/>
            <a:ext cx="3369295" cy="698501"/>
          </a:xfrm>
          <a:prstGeom prst="rect">
            <a:avLst/>
          </a:prstGeom>
        </p:spPr>
        <p:txBody>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it-IT" dirty="0"/>
              <a:t>CUBBIT S3 API</a:t>
            </a:r>
            <a:endParaRPr lang="en-US" dirty="0"/>
          </a:p>
        </p:txBody>
      </p:sp>
      <p:graphicFrame>
        <p:nvGraphicFramePr>
          <p:cNvPr id="8" name="Table 7">
            <a:extLst>
              <a:ext uri="{FF2B5EF4-FFF2-40B4-BE49-F238E27FC236}">
                <a16:creationId xmlns:a16="http://schemas.microsoft.com/office/drawing/2014/main" id="{457FDC3D-6599-4937-8F54-AFC40210B179}"/>
              </a:ext>
            </a:extLst>
          </p:cNvPr>
          <p:cNvGraphicFramePr>
            <a:graphicFrameLocks noGrp="1"/>
          </p:cNvGraphicFramePr>
          <p:nvPr>
            <p:extLst>
              <p:ext uri="{D42A27DB-BD31-4B8C-83A1-F6EECF244321}">
                <p14:modId xmlns:p14="http://schemas.microsoft.com/office/powerpoint/2010/main" val="3472882665"/>
              </p:ext>
            </p:extLst>
          </p:nvPr>
        </p:nvGraphicFramePr>
        <p:xfrm>
          <a:off x="501649" y="5230640"/>
          <a:ext cx="8127999" cy="1166967"/>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3510912573"/>
                    </a:ext>
                  </a:extLst>
                </a:gridCol>
                <a:gridCol w="2709333">
                  <a:extLst>
                    <a:ext uri="{9D8B030D-6E8A-4147-A177-3AD203B41FA5}">
                      <a16:colId xmlns:a16="http://schemas.microsoft.com/office/drawing/2014/main" val="3048296827"/>
                    </a:ext>
                  </a:extLst>
                </a:gridCol>
                <a:gridCol w="2709333">
                  <a:extLst>
                    <a:ext uri="{9D8B030D-6E8A-4147-A177-3AD203B41FA5}">
                      <a16:colId xmlns:a16="http://schemas.microsoft.com/office/drawing/2014/main" val="1962071745"/>
                    </a:ext>
                  </a:extLst>
                </a:gridCol>
              </a:tblGrid>
              <a:tr h="253472">
                <a:tc>
                  <a:txBody>
                    <a:bodyPr/>
                    <a:lstStyle/>
                    <a:p>
                      <a:r>
                        <a:rPr lang="it-IT" dirty="0"/>
                        <a:t>REGION</a:t>
                      </a:r>
                      <a:endParaRPr lang="en-US" dirty="0"/>
                    </a:p>
                  </a:txBody>
                  <a:tcPr/>
                </a:tc>
                <a:tc>
                  <a:txBody>
                    <a:bodyPr/>
                    <a:lstStyle/>
                    <a:p>
                      <a:r>
                        <a:rPr lang="it-IT" dirty="0"/>
                        <a:t>ENDPOINT</a:t>
                      </a:r>
                      <a:endParaRPr lang="en-US" dirty="0"/>
                    </a:p>
                  </a:txBody>
                  <a:tcPr/>
                </a:tc>
                <a:tc>
                  <a:txBody>
                    <a:bodyPr/>
                    <a:lstStyle/>
                    <a:p>
                      <a:r>
                        <a:rPr lang="it-IT" dirty="0"/>
                        <a:t>PROTOCOL</a:t>
                      </a:r>
                      <a:endParaRPr lang="en-US" dirty="0"/>
                    </a:p>
                  </a:txBody>
                  <a:tcPr/>
                </a:tc>
                <a:extLst>
                  <a:ext uri="{0D108BD9-81ED-4DB2-BD59-A6C34878D82A}">
                    <a16:rowId xmlns:a16="http://schemas.microsoft.com/office/drawing/2014/main" val="2370223243"/>
                  </a:ext>
                </a:extLst>
              </a:tr>
              <a:tr h="801207">
                <a:tc>
                  <a:txBody>
                    <a:bodyPr/>
                    <a:lstStyle/>
                    <a:p>
                      <a:r>
                        <a:rPr lang="en-US" sz="1800" b="0" i="0" kern="1200" dirty="0" err="1">
                          <a:solidFill>
                            <a:schemeClr val="dk1"/>
                          </a:solidFill>
                          <a:effectLst/>
                          <a:latin typeface="+mn-lt"/>
                          <a:ea typeface="+mn-ea"/>
                          <a:cs typeface="+mn-cs"/>
                        </a:rPr>
                        <a:t>eu</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chemeClr val="dk1"/>
                          </a:solidFill>
                          <a:effectLst/>
                          <a:latin typeface="+mn-lt"/>
                          <a:ea typeface="+mn-ea"/>
                          <a:cs typeface="+mn-cs"/>
                        </a:rPr>
                        <a:t>https://s3.cubbit.eu</a:t>
                      </a:r>
                    </a:p>
                    <a:p>
                      <a:endParaRPr lang="en-US" dirty="0"/>
                    </a:p>
                  </a:txBody>
                  <a:tcPr/>
                </a:tc>
                <a:tc>
                  <a:txBody>
                    <a:bodyPr/>
                    <a:lstStyle/>
                    <a:p>
                      <a:r>
                        <a:rPr lang="en-US" sz="1800" b="0" i="0" kern="1200" dirty="0">
                          <a:solidFill>
                            <a:schemeClr val="dk1"/>
                          </a:solidFill>
                          <a:effectLst/>
                          <a:latin typeface="+mn-lt"/>
                          <a:ea typeface="+mn-ea"/>
                          <a:cs typeface="+mn-cs"/>
                        </a:rPr>
                        <a:t>HTTP and HTTPS</a:t>
                      </a:r>
                      <a:endParaRPr lang="en-US" dirty="0"/>
                    </a:p>
                  </a:txBody>
                  <a:tcPr/>
                </a:tc>
                <a:extLst>
                  <a:ext uri="{0D108BD9-81ED-4DB2-BD59-A6C34878D82A}">
                    <a16:rowId xmlns:a16="http://schemas.microsoft.com/office/drawing/2014/main" val="490786796"/>
                  </a:ext>
                </a:extLst>
              </a:tr>
            </a:tbl>
          </a:graphicData>
        </a:graphic>
      </p:graphicFrame>
      <p:graphicFrame>
        <p:nvGraphicFramePr>
          <p:cNvPr id="9" name="Diagram 8">
            <a:extLst>
              <a:ext uri="{FF2B5EF4-FFF2-40B4-BE49-F238E27FC236}">
                <a16:creationId xmlns:a16="http://schemas.microsoft.com/office/drawing/2014/main" id="{578FD258-F06E-42CD-BF83-F4DFCB5098D7}"/>
              </a:ext>
            </a:extLst>
          </p:cNvPr>
          <p:cNvGraphicFramePr/>
          <p:nvPr>
            <p:extLst>
              <p:ext uri="{D42A27DB-BD31-4B8C-83A1-F6EECF244321}">
                <p14:modId xmlns:p14="http://schemas.microsoft.com/office/powerpoint/2010/main" val="263493276"/>
              </p:ext>
            </p:extLst>
          </p:nvPr>
        </p:nvGraphicFramePr>
        <p:xfrm>
          <a:off x="9044379" y="3571091"/>
          <a:ext cx="2888344" cy="2413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61359785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097C650-0F7A-4176-B182-2E84211284E4}"/>
              </a:ext>
            </a:extLst>
          </p:cNvPr>
          <p:cNvGraphicFramePr/>
          <p:nvPr>
            <p:extLst>
              <p:ext uri="{D42A27DB-BD31-4B8C-83A1-F6EECF244321}">
                <p14:modId xmlns:p14="http://schemas.microsoft.com/office/powerpoint/2010/main" val="2168502634"/>
              </p:ext>
            </p:extLst>
          </p:nvPr>
        </p:nvGraphicFramePr>
        <p:xfrm>
          <a:off x="591786" y="130628"/>
          <a:ext cx="11363691" cy="43582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a:extLst>
              <a:ext uri="{FF2B5EF4-FFF2-40B4-BE49-F238E27FC236}">
                <a16:creationId xmlns:a16="http://schemas.microsoft.com/office/drawing/2014/main" id="{75CE4EC3-A2E4-42D8-AE81-931608669C41}"/>
              </a:ext>
            </a:extLst>
          </p:cNvPr>
          <p:cNvSpPr txBox="1">
            <a:spLocks/>
          </p:cNvSpPr>
          <p:nvPr/>
        </p:nvSpPr>
        <p:spPr>
          <a:xfrm>
            <a:off x="501650" y="1016001"/>
            <a:ext cx="11188700" cy="698501"/>
          </a:xfrm>
          <a:prstGeom prst="rect">
            <a:avLst/>
          </a:prstGeom>
        </p:spPr>
        <p:txBody>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it-IT" dirty="0"/>
              <a:t>TRASFERIMENTO DEL’UN OGGETTO NEL BUCKET DAL CUBBIT AL AWS</a:t>
            </a:r>
            <a:endParaRPr lang="en-US" dirty="0"/>
          </a:p>
        </p:txBody>
      </p:sp>
      <p:sp>
        <p:nvSpPr>
          <p:cNvPr id="4" name="Title 2">
            <a:extLst>
              <a:ext uri="{FF2B5EF4-FFF2-40B4-BE49-F238E27FC236}">
                <a16:creationId xmlns:a16="http://schemas.microsoft.com/office/drawing/2014/main" id="{05A614C6-2D41-4DA4-B55D-7F65BC89BD42}"/>
              </a:ext>
            </a:extLst>
          </p:cNvPr>
          <p:cNvSpPr txBox="1">
            <a:spLocks/>
          </p:cNvSpPr>
          <p:nvPr/>
        </p:nvSpPr>
        <p:spPr>
          <a:xfrm>
            <a:off x="501650" y="317500"/>
            <a:ext cx="11188700" cy="698501"/>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it-IT" dirty="0">
                <a:cs typeface="Calibri Light"/>
              </a:rPr>
              <a:t>APPLICAZIONE - Workflow</a:t>
            </a:r>
            <a:endParaRPr lang="en-US" dirty="0"/>
          </a:p>
        </p:txBody>
      </p:sp>
      <p:grpSp>
        <p:nvGrpSpPr>
          <p:cNvPr id="69" name="Group 68">
            <a:extLst>
              <a:ext uri="{FF2B5EF4-FFF2-40B4-BE49-F238E27FC236}">
                <a16:creationId xmlns:a16="http://schemas.microsoft.com/office/drawing/2014/main" id="{26CFEFBD-35F1-A912-EF62-A147FCB53169}"/>
              </a:ext>
            </a:extLst>
          </p:cNvPr>
          <p:cNvGrpSpPr/>
          <p:nvPr/>
        </p:nvGrpSpPr>
        <p:grpSpPr>
          <a:xfrm>
            <a:off x="836428" y="3370521"/>
            <a:ext cx="4529469" cy="2225749"/>
            <a:chOff x="2431312" y="1368056"/>
            <a:chExt cx="8064794" cy="4290237"/>
          </a:xfrm>
        </p:grpSpPr>
        <p:sp>
          <p:nvSpPr>
            <p:cNvPr id="56" name="Rectangle 55">
              <a:extLst>
                <a:ext uri="{FF2B5EF4-FFF2-40B4-BE49-F238E27FC236}">
                  <a16:creationId xmlns:a16="http://schemas.microsoft.com/office/drawing/2014/main" id="{4E106FCD-2930-5B37-03E0-9C1B2713DF5D}"/>
                </a:ext>
              </a:extLst>
            </p:cNvPr>
            <p:cNvSpPr/>
            <p:nvPr/>
          </p:nvSpPr>
          <p:spPr bwMode="gray">
            <a:xfrm>
              <a:off x="2431312" y="1368056"/>
              <a:ext cx="8064794" cy="4290237"/>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7" name="Rectangle 56">
              <a:extLst>
                <a:ext uri="{FF2B5EF4-FFF2-40B4-BE49-F238E27FC236}">
                  <a16:creationId xmlns:a16="http://schemas.microsoft.com/office/drawing/2014/main" id="{46D4C728-2537-02E2-81F7-6BBF89D101C5}"/>
                </a:ext>
              </a:extLst>
            </p:cNvPr>
            <p:cNvSpPr/>
            <p:nvPr/>
          </p:nvSpPr>
          <p:spPr bwMode="gray">
            <a:xfrm>
              <a:off x="2742536" y="2450140"/>
              <a:ext cx="2970027" cy="228777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8" name="Rectangle 57">
              <a:extLst>
                <a:ext uri="{FF2B5EF4-FFF2-40B4-BE49-F238E27FC236}">
                  <a16:creationId xmlns:a16="http://schemas.microsoft.com/office/drawing/2014/main" id="{76A5C8DA-5315-584C-846B-8E2F75C56C0B}"/>
                </a:ext>
              </a:extLst>
            </p:cNvPr>
            <p:cNvSpPr/>
            <p:nvPr/>
          </p:nvSpPr>
          <p:spPr bwMode="gray">
            <a:xfrm>
              <a:off x="6836069" y="2450139"/>
              <a:ext cx="3390575" cy="228777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9" name="TextBox 58">
              <a:extLst>
                <a:ext uri="{FF2B5EF4-FFF2-40B4-BE49-F238E27FC236}">
                  <a16:creationId xmlns:a16="http://schemas.microsoft.com/office/drawing/2014/main" id="{19B47D50-72D7-A7E2-F542-92FC486B8FC1}"/>
                </a:ext>
              </a:extLst>
            </p:cNvPr>
            <p:cNvSpPr txBox="1"/>
            <p:nvPr/>
          </p:nvSpPr>
          <p:spPr>
            <a:xfrm>
              <a:off x="2773324" y="2206256"/>
              <a:ext cx="2932813" cy="29662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1000" dirty="0">
                  <a:solidFill>
                    <a:srgbClr val="313131"/>
                  </a:solidFill>
                  <a:cs typeface="Calibri Light"/>
                </a:rPr>
                <a:t>Folder: \backup</a:t>
              </a:r>
            </a:p>
          </p:txBody>
        </p:sp>
        <p:sp>
          <p:nvSpPr>
            <p:cNvPr id="60" name="TextBox 59">
              <a:extLst>
                <a:ext uri="{FF2B5EF4-FFF2-40B4-BE49-F238E27FC236}">
                  <a16:creationId xmlns:a16="http://schemas.microsoft.com/office/drawing/2014/main" id="{4110E653-3D59-A703-B996-DF31572788B4}"/>
                </a:ext>
              </a:extLst>
            </p:cNvPr>
            <p:cNvSpPr txBox="1"/>
            <p:nvPr/>
          </p:nvSpPr>
          <p:spPr>
            <a:xfrm>
              <a:off x="6884579" y="2206256"/>
              <a:ext cx="2932813" cy="29662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1000" dirty="0">
                  <a:solidFill>
                    <a:srgbClr val="313131"/>
                  </a:solidFill>
                  <a:cs typeface="Calibri Light"/>
                </a:rPr>
                <a:t>Folder: \</a:t>
              </a:r>
              <a:r>
                <a:rPr lang="en-US" sz="1000" dirty="0" err="1">
                  <a:solidFill>
                    <a:srgbClr val="313131"/>
                  </a:solidFill>
                  <a:cs typeface="Calibri Light"/>
                </a:rPr>
                <a:t>storico</a:t>
              </a:r>
              <a:r>
                <a:rPr lang="en-US" sz="1000" dirty="0">
                  <a:solidFill>
                    <a:srgbClr val="313131"/>
                  </a:solidFill>
                  <a:cs typeface="Calibri Light"/>
                </a:rPr>
                <a:t> backup</a:t>
              </a:r>
            </a:p>
          </p:txBody>
        </p:sp>
        <p:pic>
          <p:nvPicPr>
            <p:cNvPr id="61" name="Picture 60" descr="A picture containing text, clipart&#10;&#10;Description automatically generated">
              <a:extLst>
                <a:ext uri="{FF2B5EF4-FFF2-40B4-BE49-F238E27FC236}">
                  <a16:creationId xmlns:a16="http://schemas.microsoft.com/office/drawing/2014/main" id="{60A155D6-A57A-669C-199B-256B86767888}"/>
                </a:ext>
              </a:extLst>
            </p:cNvPr>
            <p:cNvPicPr>
              <a:picLocks noChangeAspect="1"/>
            </p:cNvPicPr>
            <p:nvPr/>
          </p:nvPicPr>
          <p:blipFill>
            <a:blip r:embed="rId7"/>
            <a:stretch>
              <a:fillRect/>
            </a:stretch>
          </p:blipFill>
          <p:spPr>
            <a:xfrm>
              <a:off x="7896206" y="1638123"/>
              <a:ext cx="1098054" cy="393690"/>
            </a:xfrm>
            <a:prstGeom prst="rect">
              <a:avLst/>
            </a:prstGeom>
          </p:spPr>
        </p:pic>
        <p:pic>
          <p:nvPicPr>
            <p:cNvPr id="62" name="Picture 9" descr="Shape&#10;&#10;Description automatically generated">
              <a:extLst>
                <a:ext uri="{FF2B5EF4-FFF2-40B4-BE49-F238E27FC236}">
                  <a16:creationId xmlns:a16="http://schemas.microsoft.com/office/drawing/2014/main" id="{FBF66CE7-A9ED-0F9E-C705-6000581E3A00}"/>
                </a:ext>
              </a:extLst>
            </p:cNvPr>
            <p:cNvPicPr>
              <a:picLocks noChangeAspect="1"/>
            </p:cNvPicPr>
            <p:nvPr/>
          </p:nvPicPr>
          <p:blipFill>
            <a:blip r:embed="rId8"/>
            <a:stretch>
              <a:fillRect/>
            </a:stretch>
          </p:blipFill>
          <p:spPr>
            <a:xfrm>
              <a:off x="3879001" y="1486122"/>
              <a:ext cx="942975" cy="704850"/>
            </a:xfrm>
            <a:prstGeom prst="rect">
              <a:avLst/>
            </a:prstGeom>
          </p:spPr>
        </p:pic>
        <p:sp>
          <p:nvSpPr>
            <p:cNvPr id="63" name="Rectangle: Rounded Corners 62">
              <a:extLst>
                <a:ext uri="{FF2B5EF4-FFF2-40B4-BE49-F238E27FC236}">
                  <a16:creationId xmlns:a16="http://schemas.microsoft.com/office/drawing/2014/main" id="{BB7C95DC-AE27-46FC-BD67-35102D9CBDFB}"/>
                </a:ext>
              </a:extLst>
            </p:cNvPr>
            <p:cNvSpPr/>
            <p:nvPr/>
          </p:nvSpPr>
          <p:spPr bwMode="gray">
            <a:xfrm>
              <a:off x="5940055" y="3033823"/>
              <a:ext cx="737191" cy="294168"/>
            </a:xfrm>
            <a:prstGeom prst="round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64" name="Rectangle: Rounded Corners 63">
              <a:extLst>
                <a:ext uri="{FF2B5EF4-FFF2-40B4-BE49-F238E27FC236}">
                  <a16:creationId xmlns:a16="http://schemas.microsoft.com/office/drawing/2014/main" id="{33024B2C-B348-8812-C139-38C0DA9D95C1}"/>
                </a:ext>
              </a:extLst>
            </p:cNvPr>
            <p:cNvSpPr/>
            <p:nvPr/>
          </p:nvSpPr>
          <p:spPr bwMode="gray">
            <a:xfrm>
              <a:off x="5940055" y="3778102"/>
              <a:ext cx="737191" cy="294168"/>
            </a:xfrm>
            <a:prstGeom prst="roundRect">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5" name="Arrow: Left 64">
              <a:extLst>
                <a:ext uri="{FF2B5EF4-FFF2-40B4-BE49-F238E27FC236}">
                  <a16:creationId xmlns:a16="http://schemas.microsoft.com/office/drawing/2014/main" id="{5C2C5167-ABBB-D10F-539F-F83178EE01E8}"/>
                </a:ext>
              </a:extLst>
            </p:cNvPr>
            <p:cNvSpPr/>
            <p:nvPr/>
          </p:nvSpPr>
          <p:spPr bwMode="gray">
            <a:xfrm>
              <a:off x="6192693" y="3808023"/>
              <a:ext cx="234131" cy="254262"/>
            </a:xfrm>
            <a:prstGeom prst="leftArrow">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6" name="Arrow: Left 65">
              <a:extLst>
                <a:ext uri="{FF2B5EF4-FFF2-40B4-BE49-F238E27FC236}">
                  <a16:creationId xmlns:a16="http://schemas.microsoft.com/office/drawing/2014/main" id="{7886859E-DF49-17F9-C953-D524E3212498}"/>
                </a:ext>
              </a:extLst>
            </p:cNvPr>
            <p:cNvSpPr/>
            <p:nvPr/>
          </p:nvSpPr>
          <p:spPr bwMode="gray">
            <a:xfrm rot="10800000">
              <a:off x="6192693" y="3063743"/>
              <a:ext cx="234131" cy="254262"/>
            </a:xfrm>
            <a:prstGeom prst="leftArrow">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7" name="TextBox 66">
              <a:extLst>
                <a:ext uri="{FF2B5EF4-FFF2-40B4-BE49-F238E27FC236}">
                  <a16:creationId xmlns:a16="http://schemas.microsoft.com/office/drawing/2014/main" id="{B2534BA1-BA67-E1CA-7451-40F2922169A6}"/>
                </a:ext>
              </a:extLst>
            </p:cNvPr>
            <p:cNvSpPr txBox="1"/>
            <p:nvPr/>
          </p:nvSpPr>
          <p:spPr>
            <a:xfrm>
              <a:off x="2923952" y="2578396"/>
              <a:ext cx="2538418" cy="189841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lgn="l">
                <a:spcBef>
                  <a:spcPts val="600"/>
                </a:spcBef>
                <a:buSzPct val="100000"/>
                <a:buFont typeface="Wingdings"/>
                <a:buChar char="q"/>
              </a:pPr>
              <a:r>
                <a:rPr lang="en-US" sz="800" dirty="0">
                  <a:solidFill>
                    <a:srgbClr val="313131"/>
                  </a:solidFill>
                  <a:cs typeface="Calibri Light"/>
                </a:rPr>
                <a:t>Database_20230115.</a:t>
              </a:r>
              <a:r>
                <a:rPr lang="en-US" sz="800" dirty="0">
                  <a:solidFill>
                    <a:srgbClr val="313131"/>
                  </a:solidFill>
                  <a:ea typeface="+mn-lt"/>
                  <a:cs typeface="+mn-lt"/>
                </a:rPr>
                <a:t>backup</a:t>
              </a:r>
              <a:endParaRPr lang="en-US" sz="800" dirty="0">
                <a:solidFill>
                  <a:srgbClr val="313131"/>
                </a:solidFill>
                <a:cs typeface="Calibri Light"/>
              </a:endParaRPr>
            </a:p>
            <a:p>
              <a:pPr marL="171450" indent="-171450">
                <a:spcBef>
                  <a:spcPts val="600"/>
                </a:spcBef>
                <a:buSzPct val="100000"/>
                <a:buFont typeface="Wingdings"/>
                <a:buChar char="q"/>
              </a:pPr>
              <a:r>
                <a:rPr lang="en-US" sz="800" dirty="0">
                  <a:solidFill>
                    <a:srgbClr val="313131"/>
                  </a:solidFill>
                  <a:cs typeface="Calibri Light"/>
                </a:rPr>
                <a:t>Database_20230131.backup</a:t>
              </a:r>
            </a:p>
            <a:p>
              <a:pPr marL="171450" indent="-171450">
                <a:spcBef>
                  <a:spcPts val="600"/>
                </a:spcBef>
                <a:buSzPct val="100000"/>
                <a:buFont typeface="Wingdings"/>
                <a:buChar char="q"/>
              </a:pPr>
              <a:r>
                <a:rPr lang="en-US" sz="800" dirty="0">
                  <a:solidFill>
                    <a:srgbClr val="313131"/>
                  </a:solidFill>
                  <a:ea typeface="+mn-lt"/>
                  <a:cs typeface="+mn-lt"/>
                </a:rPr>
                <a:t>Database_20230215.backup</a:t>
              </a:r>
            </a:p>
            <a:p>
              <a:pPr marL="171450" indent="-171450">
                <a:spcBef>
                  <a:spcPts val="600"/>
                </a:spcBef>
                <a:buSzPct val="100000"/>
                <a:buFont typeface="Wingdings"/>
                <a:buChar char="q"/>
              </a:pPr>
              <a:endParaRPr lang="en-US" sz="800" dirty="0">
                <a:solidFill>
                  <a:srgbClr val="313131"/>
                </a:solidFill>
                <a:cs typeface="Calibri Light"/>
              </a:endParaRPr>
            </a:p>
            <a:p>
              <a:pPr marL="171450" indent="-171450">
                <a:spcBef>
                  <a:spcPts val="600"/>
                </a:spcBef>
                <a:buSzPct val="100000"/>
                <a:buFont typeface="Wingdings"/>
                <a:buChar char="q"/>
              </a:pPr>
              <a:endParaRPr lang="en-US" sz="1200" dirty="0">
                <a:solidFill>
                  <a:srgbClr val="313131"/>
                </a:solidFill>
                <a:cs typeface="Calibri Light"/>
              </a:endParaRPr>
            </a:p>
          </p:txBody>
        </p:sp>
        <p:sp>
          <p:nvSpPr>
            <p:cNvPr id="68" name="TextBox 67">
              <a:extLst>
                <a:ext uri="{FF2B5EF4-FFF2-40B4-BE49-F238E27FC236}">
                  <a16:creationId xmlns:a16="http://schemas.microsoft.com/office/drawing/2014/main" id="{9120F803-30FA-84DB-CE9E-2CED5DBCD0F7}"/>
                </a:ext>
              </a:extLst>
            </p:cNvPr>
            <p:cNvSpPr txBox="1"/>
            <p:nvPr/>
          </p:nvSpPr>
          <p:spPr>
            <a:xfrm>
              <a:off x="6982047" y="2516371"/>
              <a:ext cx="3231260" cy="23730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Bef>
                  <a:spcPts val="600"/>
                </a:spcBef>
                <a:buSzPct val="100000"/>
              </a:pPr>
              <a:endParaRPr lang="en-US" sz="800" dirty="0">
                <a:solidFill>
                  <a:srgbClr val="313131"/>
                </a:solidFill>
                <a:cs typeface="Calibri Light"/>
              </a:endParaRPr>
            </a:p>
          </p:txBody>
        </p:sp>
      </p:grpSp>
      <p:grpSp>
        <p:nvGrpSpPr>
          <p:cNvPr id="84" name="Group 83">
            <a:extLst>
              <a:ext uri="{FF2B5EF4-FFF2-40B4-BE49-F238E27FC236}">
                <a16:creationId xmlns:a16="http://schemas.microsoft.com/office/drawing/2014/main" id="{596D46E7-0D59-BD72-D03B-D71A5271A74D}"/>
              </a:ext>
            </a:extLst>
          </p:cNvPr>
          <p:cNvGrpSpPr/>
          <p:nvPr/>
        </p:nvGrpSpPr>
        <p:grpSpPr>
          <a:xfrm>
            <a:off x="6843823" y="3432544"/>
            <a:ext cx="4529469" cy="2225749"/>
            <a:chOff x="2431312" y="1368056"/>
            <a:chExt cx="8064794" cy="4290237"/>
          </a:xfrm>
        </p:grpSpPr>
        <p:sp>
          <p:nvSpPr>
            <p:cNvPr id="71" name="Rectangle 70">
              <a:extLst>
                <a:ext uri="{FF2B5EF4-FFF2-40B4-BE49-F238E27FC236}">
                  <a16:creationId xmlns:a16="http://schemas.microsoft.com/office/drawing/2014/main" id="{B992AE88-C4AB-FF3C-9DCD-44C4345B88FB}"/>
                </a:ext>
              </a:extLst>
            </p:cNvPr>
            <p:cNvSpPr/>
            <p:nvPr/>
          </p:nvSpPr>
          <p:spPr bwMode="gray">
            <a:xfrm>
              <a:off x="2431312" y="1368056"/>
              <a:ext cx="8064794" cy="4290237"/>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2" name="Rectangle 71">
              <a:extLst>
                <a:ext uri="{FF2B5EF4-FFF2-40B4-BE49-F238E27FC236}">
                  <a16:creationId xmlns:a16="http://schemas.microsoft.com/office/drawing/2014/main" id="{BA12E0DA-29C0-1074-0992-8C0F8CF63811}"/>
                </a:ext>
              </a:extLst>
            </p:cNvPr>
            <p:cNvSpPr/>
            <p:nvPr/>
          </p:nvSpPr>
          <p:spPr bwMode="gray">
            <a:xfrm>
              <a:off x="2742536" y="2450140"/>
              <a:ext cx="2970027" cy="228777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3" name="Rectangle 72">
              <a:extLst>
                <a:ext uri="{FF2B5EF4-FFF2-40B4-BE49-F238E27FC236}">
                  <a16:creationId xmlns:a16="http://schemas.microsoft.com/office/drawing/2014/main" id="{5A92212F-E6B1-EE58-CAC8-A5FF7A0F6AA0}"/>
                </a:ext>
              </a:extLst>
            </p:cNvPr>
            <p:cNvSpPr/>
            <p:nvPr/>
          </p:nvSpPr>
          <p:spPr bwMode="gray">
            <a:xfrm>
              <a:off x="6836069" y="2450139"/>
              <a:ext cx="3390575" cy="228777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4" name="TextBox 73">
              <a:extLst>
                <a:ext uri="{FF2B5EF4-FFF2-40B4-BE49-F238E27FC236}">
                  <a16:creationId xmlns:a16="http://schemas.microsoft.com/office/drawing/2014/main" id="{C347B13C-6E15-7E6F-DAEA-0EA52FE85956}"/>
                </a:ext>
              </a:extLst>
            </p:cNvPr>
            <p:cNvSpPr txBox="1"/>
            <p:nvPr/>
          </p:nvSpPr>
          <p:spPr>
            <a:xfrm>
              <a:off x="2773324" y="2206256"/>
              <a:ext cx="2932813" cy="29662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1000" dirty="0">
                  <a:solidFill>
                    <a:srgbClr val="313131"/>
                  </a:solidFill>
                  <a:cs typeface="Calibri Light"/>
                </a:rPr>
                <a:t>Folder: \backup</a:t>
              </a:r>
            </a:p>
          </p:txBody>
        </p:sp>
        <p:sp>
          <p:nvSpPr>
            <p:cNvPr id="75" name="TextBox 74">
              <a:extLst>
                <a:ext uri="{FF2B5EF4-FFF2-40B4-BE49-F238E27FC236}">
                  <a16:creationId xmlns:a16="http://schemas.microsoft.com/office/drawing/2014/main" id="{C7719709-4EBD-23FE-591C-B9A588C37A72}"/>
                </a:ext>
              </a:extLst>
            </p:cNvPr>
            <p:cNvSpPr txBox="1"/>
            <p:nvPr/>
          </p:nvSpPr>
          <p:spPr>
            <a:xfrm>
              <a:off x="6884579" y="2206256"/>
              <a:ext cx="2932813" cy="29662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1000" dirty="0">
                  <a:solidFill>
                    <a:srgbClr val="313131"/>
                  </a:solidFill>
                  <a:cs typeface="Calibri Light"/>
                </a:rPr>
                <a:t>Folder: \</a:t>
              </a:r>
              <a:r>
                <a:rPr lang="en-US" sz="1000" dirty="0" err="1">
                  <a:solidFill>
                    <a:srgbClr val="313131"/>
                  </a:solidFill>
                  <a:cs typeface="Calibri Light"/>
                </a:rPr>
                <a:t>storico</a:t>
              </a:r>
              <a:r>
                <a:rPr lang="en-US" sz="1000" dirty="0">
                  <a:solidFill>
                    <a:srgbClr val="313131"/>
                  </a:solidFill>
                  <a:cs typeface="Calibri Light"/>
                </a:rPr>
                <a:t> backup</a:t>
              </a:r>
            </a:p>
          </p:txBody>
        </p:sp>
        <p:pic>
          <p:nvPicPr>
            <p:cNvPr id="76" name="Picture 75" descr="A picture containing text, clipart&#10;&#10;Description automatically generated">
              <a:extLst>
                <a:ext uri="{FF2B5EF4-FFF2-40B4-BE49-F238E27FC236}">
                  <a16:creationId xmlns:a16="http://schemas.microsoft.com/office/drawing/2014/main" id="{61F701CC-8A5E-B20B-3D25-9183CD9513D2}"/>
                </a:ext>
              </a:extLst>
            </p:cNvPr>
            <p:cNvPicPr>
              <a:picLocks noChangeAspect="1"/>
            </p:cNvPicPr>
            <p:nvPr/>
          </p:nvPicPr>
          <p:blipFill>
            <a:blip r:embed="rId7"/>
            <a:stretch>
              <a:fillRect/>
            </a:stretch>
          </p:blipFill>
          <p:spPr>
            <a:xfrm>
              <a:off x="7896206" y="1638123"/>
              <a:ext cx="1098054" cy="393690"/>
            </a:xfrm>
            <a:prstGeom prst="rect">
              <a:avLst/>
            </a:prstGeom>
          </p:spPr>
        </p:pic>
        <p:pic>
          <p:nvPicPr>
            <p:cNvPr id="77" name="Picture 9" descr="Shape&#10;&#10;Description automatically generated">
              <a:extLst>
                <a:ext uri="{FF2B5EF4-FFF2-40B4-BE49-F238E27FC236}">
                  <a16:creationId xmlns:a16="http://schemas.microsoft.com/office/drawing/2014/main" id="{901E0116-52D5-AD37-DA77-C66F2A96F5D7}"/>
                </a:ext>
              </a:extLst>
            </p:cNvPr>
            <p:cNvPicPr>
              <a:picLocks noChangeAspect="1"/>
            </p:cNvPicPr>
            <p:nvPr/>
          </p:nvPicPr>
          <p:blipFill>
            <a:blip r:embed="rId8"/>
            <a:stretch>
              <a:fillRect/>
            </a:stretch>
          </p:blipFill>
          <p:spPr>
            <a:xfrm>
              <a:off x="3879001" y="1486122"/>
              <a:ext cx="942975" cy="704850"/>
            </a:xfrm>
            <a:prstGeom prst="rect">
              <a:avLst/>
            </a:prstGeom>
          </p:spPr>
        </p:pic>
        <p:sp>
          <p:nvSpPr>
            <p:cNvPr id="78" name="Rectangle: Rounded Corners 77">
              <a:extLst>
                <a:ext uri="{FF2B5EF4-FFF2-40B4-BE49-F238E27FC236}">
                  <a16:creationId xmlns:a16="http://schemas.microsoft.com/office/drawing/2014/main" id="{55EB451D-A885-99B7-1490-541D9FD861CF}"/>
                </a:ext>
              </a:extLst>
            </p:cNvPr>
            <p:cNvSpPr/>
            <p:nvPr/>
          </p:nvSpPr>
          <p:spPr bwMode="gray">
            <a:xfrm>
              <a:off x="5940055" y="3033823"/>
              <a:ext cx="737191" cy="294168"/>
            </a:xfrm>
            <a:prstGeom prst="round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79" name="Rectangle: Rounded Corners 78">
              <a:extLst>
                <a:ext uri="{FF2B5EF4-FFF2-40B4-BE49-F238E27FC236}">
                  <a16:creationId xmlns:a16="http://schemas.microsoft.com/office/drawing/2014/main" id="{9E7D29C9-896C-031D-3A78-3F33CEBBCB09}"/>
                </a:ext>
              </a:extLst>
            </p:cNvPr>
            <p:cNvSpPr/>
            <p:nvPr/>
          </p:nvSpPr>
          <p:spPr bwMode="gray">
            <a:xfrm>
              <a:off x="5940055" y="3778102"/>
              <a:ext cx="737191" cy="294168"/>
            </a:xfrm>
            <a:prstGeom prst="round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0" name="Arrow: Left 79">
              <a:extLst>
                <a:ext uri="{FF2B5EF4-FFF2-40B4-BE49-F238E27FC236}">
                  <a16:creationId xmlns:a16="http://schemas.microsoft.com/office/drawing/2014/main" id="{D27C367D-BA3A-5794-379C-E0538A39A59E}"/>
                </a:ext>
              </a:extLst>
            </p:cNvPr>
            <p:cNvSpPr/>
            <p:nvPr/>
          </p:nvSpPr>
          <p:spPr bwMode="gray">
            <a:xfrm>
              <a:off x="6192693" y="3808023"/>
              <a:ext cx="234131" cy="254262"/>
            </a:xfrm>
            <a:prstGeom prst="leftArrow">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1" name="Arrow: Left 80">
              <a:extLst>
                <a:ext uri="{FF2B5EF4-FFF2-40B4-BE49-F238E27FC236}">
                  <a16:creationId xmlns:a16="http://schemas.microsoft.com/office/drawing/2014/main" id="{50508BE3-E51D-AB7C-93E7-85D1B75CA3F1}"/>
                </a:ext>
              </a:extLst>
            </p:cNvPr>
            <p:cNvSpPr/>
            <p:nvPr/>
          </p:nvSpPr>
          <p:spPr bwMode="gray">
            <a:xfrm rot="10800000">
              <a:off x="6192693" y="3063743"/>
              <a:ext cx="234131" cy="254262"/>
            </a:xfrm>
            <a:prstGeom prst="leftArrow">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2" name="TextBox 81">
              <a:extLst>
                <a:ext uri="{FF2B5EF4-FFF2-40B4-BE49-F238E27FC236}">
                  <a16:creationId xmlns:a16="http://schemas.microsoft.com/office/drawing/2014/main" id="{2BC5806B-0558-B65A-65C6-D79848F82FDD}"/>
                </a:ext>
              </a:extLst>
            </p:cNvPr>
            <p:cNvSpPr txBox="1"/>
            <p:nvPr/>
          </p:nvSpPr>
          <p:spPr>
            <a:xfrm>
              <a:off x="2923952" y="2578396"/>
              <a:ext cx="2538418" cy="213571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lgn="l">
                <a:spcBef>
                  <a:spcPts val="600"/>
                </a:spcBef>
                <a:buSzPct val="100000"/>
                <a:buFont typeface="Wingdings"/>
                <a:buChar char="q"/>
              </a:pPr>
              <a:r>
                <a:rPr lang="en-US" sz="800" dirty="0">
                  <a:solidFill>
                    <a:srgbClr val="313131"/>
                  </a:solidFill>
                  <a:cs typeface="Calibri Light"/>
                </a:rPr>
                <a:t>Database_20230115.</a:t>
              </a:r>
              <a:r>
                <a:rPr lang="en-US" sz="800" dirty="0">
                  <a:solidFill>
                    <a:srgbClr val="313131"/>
                  </a:solidFill>
                  <a:ea typeface="+mn-lt"/>
                  <a:cs typeface="+mn-lt"/>
                </a:rPr>
                <a:t>backup</a:t>
              </a:r>
              <a:endParaRPr lang="en-US" sz="800" dirty="0">
                <a:solidFill>
                  <a:srgbClr val="313131"/>
                </a:solidFill>
                <a:cs typeface="Calibri Light"/>
              </a:endParaRPr>
            </a:p>
            <a:p>
              <a:pPr marL="171450" indent="-171450">
                <a:spcBef>
                  <a:spcPts val="600"/>
                </a:spcBef>
                <a:buSzPct val="100000"/>
                <a:buFont typeface="Wingdings"/>
                <a:buChar char="q"/>
              </a:pPr>
              <a:r>
                <a:rPr lang="en-US" sz="800" dirty="0">
                  <a:solidFill>
                    <a:srgbClr val="313131"/>
                  </a:solidFill>
                  <a:cs typeface="Calibri Light"/>
                </a:rPr>
                <a:t>Database_20230131.backup</a:t>
              </a:r>
            </a:p>
            <a:p>
              <a:pPr marL="171450" indent="-171450">
                <a:spcBef>
                  <a:spcPts val="600"/>
                </a:spcBef>
                <a:buSzPct val="100000"/>
                <a:buFont typeface="Wingdings"/>
                <a:buChar char="q"/>
              </a:pPr>
              <a:r>
                <a:rPr lang="en-US" sz="800" dirty="0">
                  <a:solidFill>
                    <a:srgbClr val="313131"/>
                  </a:solidFill>
                  <a:ea typeface="+mn-lt"/>
                  <a:cs typeface="+mn-lt"/>
                </a:rPr>
                <a:t>Database_20230215.backup</a:t>
              </a:r>
            </a:p>
            <a:p>
              <a:pPr marL="171450" indent="-171450">
                <a:spcBef>
                  <a:spcPts val="600"/>
                </a:spcBef>
                <a:buSzPct val="100000"/>
                <a:buFont typeface="Wingdings"/>
                <a:buChar char="q"/>
              </a:pPr>
              <a:r>
                <a:rPr lang="en-US" sz="800" dirty="0">
                  <a:solidFill>
                    <a:srgbClr val="313131"/>
                  </a:solidFill>
                  <a:cs typeface="Calibri Light"/>
                </a:rPr>
                <a:t>Database_20230131.backup_20230205_20230212</a:t>
              </a:r>
            </a:p>
            <a:p>
              <a:pPr marL="171450" indent="-171450">
                <a:spcBef>
                  <a:spcPts val="600"/>
                </a:spcBef>
                <a:buSzPct val="100000"/>
                <a:buFont typeface="Wingdings"/>
                <a:buChar char="q"/>
              </a:pPr>
              <a:endParaRPr lang="en-US" sz="1200" dirty="0">
                <a:solidFill>
                  <a:srgbClr val="313131"/>
                </a:solidFill>
                <a:cs typeface="Calibri Light"/>
              </a:endParaRPr>
            </a:p>
          </p:txBody>
        </p:sp>
        <p:sp>
          <p:nvSpPr>
            <p:cNvPr id="83" name="TextBox 82">
              <a:extLst>
                <a:ext uri="{FF2B5EF4-FFF2-40B4-BE49-F238E27FC236}">
                  <a16:creationId xmlns:a16="http://schemas.microsoft.com/office/drawing/2014/main" id="{311E1476-A65E-947E-C792-DE9AE5CFDCDE}"/>
                </a:ext>
              </a:extLst>
            </p:cNvPr>
            <p:cNvSpPr txBox="1"/>
            <p:nvPr/>
          </p:nvSpPr>
          <p:spPr>
            <a:xfrm>
              <a:off x="6982047" y="2516371"/>
              <a:ext cx="3231260" cy="124583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lgn="l">
                <a:spcBef>
                  <a:spcPts val="600"/>
                </a:spcBef>
                <a:buSzPct val="100000"/>
                <a:buFont typeface="Wingdings"/>
                <a:buChar char="q"/>
              </a:pPr>
              <a:r>
                <a:rPr lang="en-US" sz="800" dirty="0">
                  <a:solidFill>
                    <a:srgbClr val="313131"/>
                  </a:solidFill>
                  <a:cs typeface="Calibri Light"/>
                </a:rPr>
                <a:t>Database_20230131.</a:t>
              </a:r>
              <a:r>
                <a:rPr lang="en-US" sz="800" dirty="0">
                  <a:solidFill>
                    <a:srgbClr val="313131"/>
                  </a:solidFill>
                  <a:ea typeface="+mn-lt"/>
                  <a:cs typeface="+mn-lt"/>
                </a:rPr>
                <a:t>backup_20230205</a:t>
              </a:r>
              <a:endParaRPr lang="en-US" sz="800" dirty="0">
                <a:solidFill>
                  <a:srgbClr val="313131"/>
                </a:solidFill>
                <a:cs typeface="Calibri Light"/>
              </a:endParaRPr>
            </a:p>
            <a:p>
              <a:pPr marL="171450" indent="-171450">
                <a:spcBef>
                  <a:spcPts val="600"/>
                </a:spcBef>
                <a:buSzPct val="100000"/>
                <a:buFont typeface="Wingdings"/>
                <a:buChar char="q"/>
              </a:pPr>
              <a:endParaRPr lang="en-US" sz="1200" dirty="0">
                <a:solidFill>
                  <a:srgbClr val="313131"/>
                </a:solidFill>
                <a:ea typeface="+mn-lt"/>
                <a:cs typeface="+mn-lt"/>
              </a:endParaRPr>
            </a:p>
            <a:p>
              <a:pPr marL="171450" indent="-171450">
                <a:spcBef>
                  <a:spcPts val="600"/>
                </a:spcBef>
                <a:buSzPct val="100000"/>
                <a:buFont typeface="Wingdings"/>
                <a:buChar char="q"/>
              </a:pPr>
              <a:endParaRPr lang="en-US" sz="1200" dirty="0">
                <a:solidFill>
                  <a:srgbClr val="313131"/>
                </a:solidFill>
                <a:cs typeface="Calibri Light"/>
              </a:endParaRPr>
            </a:p>
          </p:txBody>
        </p:sp>
      </p:grpSp>
      <p:grpSp>
        <p:nvGrpSpPr>
          <p:cNvPr id="88" name="Group 592">
            <a:extLst>
              <a:ext uri="{FF2B5EF4-FFF2-40B4-BE49-F238E27FC236}">
                <a16:creationId xmlns:a16="http://schemas.microsoft.com/office/drawing/2014/main" id="{35FAEB70-8C7A-A956-965B-4D2137E5A85B}"/>
              </a:ext>
            </a:extLst>
          </p:cNvPr>
          <p:cNvGrpSpPr>
            <a:grpSpLocks noChangeAspect="1"/>
          </p:cNvGrpSpPr>
          <p:nvPr/>
        </p:nvGrpSpPr>
        <p:grpSpPr bwMode="auto">
          <a:xfrm>
            <a:off x="7090260" y="4240523"/>
            <a:ext cx="131530" cy="148164"/>
            <a:chOff x="373" y="1933"/>
            <a:chExt cx="341" cy="340"/>
          </a:xfrm>
          <a:solidFill>
            <a:schemeClr val="accent6"/>
          </a:solidFill>
        </p:grpSpPr>
        <p:sp>
          <p:nvSpPr>
            <p:cNvPr id="86" name="Freeform 693">
              <a:extLst>
                <a:ext uri="{FF2B5EF4-FFF2-40B4-BE49-F238E27FC236}">
                  <a16:creationId xmlns:a16="http://schemas.microsoft.com/office/drawing/2014/main" id="{4B40DEC9-B62A-CB12-4D44-5820525483D1}"/>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w="12700">
              <a:solidFill>
                <a:srgbClr val="FF0000"/>
              </a:solid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694">
              <a:extLst>
                <a:ext uri="{FF2B5EF4-FFF2-40B4-BE49-F238E27FC236}">
                  <a16:creationId xmlns:a16="http://schemas.microsoft.com/office/drawing/2014/main" id="{2D152A15-2062-BD13-E776-9FA358D607C9}"/>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12700">
              <a:solidFill>
                <a:srgbClr val="FF0000"/>
              </a:solid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0" name="TextBox 89">
            <a:extLst>
              <a:ext uri="{FF2B5EF4-FFF2-40B4-BE49-F238E27FC236}">
                <a16:creationId xmlns:a16="http://schemas.microsoft.com/office/drawing/2014/main" id="{36CA56BE-DD56-BF1A-F45E-CF6B0CA56AEC}"/>
              </a:ext>
            </a:extLst>
          </p:cNvPr>
          <p:cNvSpPr txBox="1"/>
          <p:nvPr/>
        </p:nvSpPr>
        <p:spPr>
          <a:xfrm>
            <a:off x="3358609" y="4021195"/>
            <a:ext cx="1814788" cy="64633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lgn="l">
              <a:spcBef>
                <a:spcPts val="600"/>
              </a:spcBef>
              <a:buSzPct val="100000"/>
              <a:buFont typeface="Wingdings"/>
              <a:buChar char="q"/>
            </a:pPr>
            <a:r>
              <a:rPr lang="en-US" sz="800" dirty="0">
                <a:solidFill>
                  <a:srgbClr val="313131"/>
                </a:solidFill>
                <a:highlight>
                  <a:srgbClr val="C0C0C0"/>
                </a:highlight>
                <a:cs typeface="Calibri Light"/>
              </a:rPr>
              <a:t>Database_20230131.</a:t>
            </a:r>
            <a:r>
              <a:rPr lang="en-US" sz="800" dirty="0">
                <a:solidFill>
                  <a:srgbClr val="313131"/>
                </a:solidFill>
                <a:highlight>
                  <a:srgbClr val="C0C0C0"/>
                </a:highlight>
                <a:ea typeface="+mn-lt"/>
                <a:cs typeface="+mn-lt"/>
              </a:rPr>
              <a:t>backup_20230205</a:t>
            </a:r>
            <a:endParaRPr lang="en-US" sz="800" dirty="0">
              <a:solidFill>
                <a:srgbClr val="313131"/>
              </a:solidFill>
              <a:highlight>
                <a:srgbClr val="C0C0C0"/>
              </a:highlight>
              <a:cs typeface="Calibri Light"/>
            </a:endParaRPr>
          </a:p>
          <a:p>
            <a:pPr marL="171450" indent="-171450">
              <a:spcBef>
                <a:spcPts val="600"/>
              </a:spcBef>
              <a:buSzPct val="100000"/>
              <a:buFont typeface="Wingdings"/>
              <a:buChar char="q"/>
            </a:pPr>
            <a:endParaRPr lang="en-US" sz="1200" dirty="0">
              <a:solidFill>
                <a:srgbClr val="313131"/>
              </a:solidFill>
              <a:ea typeface="+mn-lt"/>
              <a:cs typeface="+mn-lt"/>
            </a:endParaRPr>
          </a:p>
          <a:p>
            <a:pPr marL="171450" indent="-171450">
              <a:spcBef>
                <a:spcPts val="600"/>
              </a:spcBef>
              <a:buSzPct val="100000"/>
              <a:buFont typeface="Wingdings"/>
              <a:buChar char="q"/>
            </a:pPr>
            <a:endParaRPr lang="en-US" sz="1200" dirty="0">
              <a:solidFill>
                <a:srgbClr val="313131"/>
              </a:solidFill>
              <a:cs typeface="Calibri Light"/>
            </a:endParaRPr>
          </a:p>
        </p:txBody>
      </p:sp>
      <p:sp>
        <p:nvSpPr>
          <p:cNvPr id="91" name="Arrow: Up 90">
            <a:extLst>
              <a:ext uri="{FF2B5EF4-FFF2-40B4-BE49-F238E27FC236}">
                <a16:creationId xmlns:a16="http://schemas.microsoft.com/office/drawing/2014/main" id="{1BE2471C-2014-085E-602B-522A2EA80EBE}"/>
              </a:ext>
            </a:extLst>
          </p:cNvPr>
          <p:cNvSpPr/>
          <p:nvPr/>
        </p:nvSpPr>
        <p:spPr bwMode="gray">
          <a:xfrm rot="2700000">
            <a:off x="6949158" y="4818766"/>
            <a:ext cx="183375" cy="446781"/>
          </a:xfrm>
          <a:prstGeom prst="upArrow">
            <a:avLst/>
          </a:prstGeom>
          <a:solidFill>
            <a:srgbClr val="FF0000"/>
          </a:solid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1" name="Arrow: Up 100">
            <a:extLst>
              <a:ext uri="{FF2B5EF4-FFF2-40B4-BE49-F238E27FC236}">
                <a16:creationId xmlns:a16="http://schemas.microsoft.com/office/drawing/2014/main" id="{9FB8BE52-ED42-9506-3C52-05949BEADC10}"/>
              </a:ext>
            </a:extLst>
          </p:cNvPr>
          <p:cNvSpPr/>
          <p:nvPr/>
        </p:nvSpPr>
        <p:spPr bwMode="gray">
          <a:xfrm rot="2700000">
            <a:off x="2616390" y="4783324"/>
            <a:ext cx="183375" cy="446781"/>
          </a:xfrm>
          <a:prstGeom prst="upArrow">
            <a:avLst/>
          </a:prstGeom>
          <a:solidFill>
            <a:srgbClr val="FF0000"/>
          </a:solid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2" name="Arrow: Up 101">
            <a:extLst>
              <a:ext uri="{FF2B5EF4-FFF2-40B4-BE49-F238E27FC236}">
                <a16:creationId xmlns:a16="http://schemas.microsoft.com/office/drawing/2014/main" id="{2DB8B777-9026-EAEB-1560-9732FFB1924C}"/>
              </a:ext>
            </a:extLst>
          </p:cNvPr>
          <p:cNvSpPr/>
          <p:nvPr/>
        </p:nvSpPr>
        <p:spPr bwMode="gray">
          <a:xfrm rot="-2700000">
            <a:off x="5283390" y="4092207"/>
            <a:ext cx="183375" cy="446781"/>
          </a:xfrm>
          <a:prstGeom prst="upArrow">
            <a:avLst/>
          </a:prstGeom>
          <a:solidFill>
            <a:srgbClr val="FF0000"/>
          </a:solid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 name="Oval 13">
            <a:extLst>
              <a:ext uri="{FF2B5EF4-FFF2-40B4-BE49-F238E27FC236}">
                <a16:creationId xmlns:a16="http://schemas.microsoft.com/office/drawing/2014/main" id="{29F9BDDC-E292-3511-2BC5-EBE8A788DD5C}"/>
              </a:ext>
            </a:extLst>
          </p:cNvPr>
          <p:cNvSpPr/>
          <p:nvPr/>
        </p:nvSpPr>
        <p:spPr bwMode="gray">
          <a:xfrm>
            <a:off x="6746358" y="4699590"/>
            <a:ext cx="285307" cy="241005"/>
          </a:xfrm>
          <a:prstGeom prst="ellipse">
            <a:avLst/>
          </a:prstGeom>
          <a:solidFill>
            <a:schemeClr val="accent3"/>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en-US" sz="1200" b="1" dirty="0">
                <a:solidFill>
                  <a:schemeClr val="bg1"/>
                </a:solidFill>
                <a:ea typeface="Calibri Light"/>
                <a:cs typeface="Calibri Light"/>
              </a:rPr>
              <a:t>4</a:t>
            </a:r>
          </a:p>
        </p:txBody>
      </p:sp>
      <p:sp>
        <p:nvSpPr>
          <p:cNvPr id="15" name="Oval 14">
            <a:extLst>
              <a:ext uri="{FF2B5EF4-FFF2-40B4-BE49-F238E27FC236}">
                <a16:creationId xmlns:a16="http://schemas.microsoft.com/office/drawing/2014/main" id="{29F9BDDC-E292-3511-2BC5-EBE8A788DD5C}"/>
              </a:ext>
            </a:extLst>
          </p:cNvPr>
          <p:cNvSpPr/>
          <p:nvPr/>
        </p:nvSpPr>
        <p:spPr bwMode="gray">
          <a:xfrm>
            <a:off x="5595605" y="4310837"/>
            <a:ext cx="285307" cy="241005"/>
          </a:xfrm>
          <a:prstGeom prst="ellipse">
            <a:avLst/>
          </a:prstGeom>
          <a:solidFill>
            <a:schemeClr val="accent3"/>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en-US" sz="1200" b="1" dirty="0">
                <a:solidFill>
                  <a:schemeClr val="bg1"/>
                </a:solidFill>
                <a:ea typeface="Calibri Light"/>
                <a:cs typeface="Calibri Light"/>
              </a:rPr>
              <a:t>2</a:t>
            </a:r>
          </a:p>
        </p:txBody>
      </p:sp>
      <p:sp>
        <p:nvSpPr>
          <p:cNvPr id="16" name="Oval 15">
            <a:extLst>
              <a:ext uri="{FF2B5EF4-FFF2-40B4-BE49-F238E27FC236}">
                <a16:creationId xmlns:a16="http://schemas.microsoft.com/office/drawing/2014/main" id="{29F9BDDC-E292-3511-2BC5-EBE8A788DD5C}"/>
              </a:ext>
            </a:extLst>
          </p:cNvPr>
          <p:cNvSpPr/>
          <p:nvPr/>
        </p:nvSpPr>
        <p:spPr bwMode="gray">
          <a:xfrm>
            <a:off x="5233434" y="3851201"/>
            <a:ext cx="285307" cy="241005"/>
          </a:xfrm>
          <a:prstGeom prst="ellipse">
            <a:avLst/>
          </a:prstGeom>
          <a:solidFill>
            <a:schemeClr val="accent3"/>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en-US" sz="1200" b="1" dirty="0">
                <a:solidFill>
                  <a:schemeClr val="bg1"/>
                </a:solidFill>
                <a:ea typeface="Calibri Light"/>
                <a:cs typeface="Calibri Light"/>
              </a:rPr>
              <a:t>1</a:t>
            </a:r>
            <a:endParaRPr lang="en-US" sz="1200" b="1">
              <a:solidFill>
                <a:schemeClr val="bg1"/>
              </a:solidFill>
              <a:ea typeface="Calibri Light"/>
              <a:cs typeface="Calibri Light"/>
            </a:endParaRPr>
          </a:p>
        </p:txBody>
      </p:sp>
      <p:sp>
        <p:nvSpPr>
          <p:cNvPr id="17" name="Oval 16">
            <a:extLst>
              <a:ext uri="{FF2B5EF4-FFF2-40B4-BE49-F238E27FC236}">
                <a16:creationId xmlns:a16="http://schemas.microsoft.com/office/drawing/2014/main" id="{29F9BDDC-E292-3511-2BC5-EBE8A788DD5C}"/>
              </a:ext>
            </a:extLst>
          </p:cNvPr>
          <p:cNvSpPr/>
          <p:nvPr/>
        </p:nvSpPr>
        <p:spPr bwMode="gray">
          <a:xfrm>
            <a:off x="2372611" y="4764936"/>
            <a:ext cx="285307" cy="241005"/>
          </a:xfrm>
          <a:prstGeom prst="ellipse">
            <a:avLst/>
          </a:prstGeom>
          <a:solidFill>
            <a:schemeClr val="accent3"/>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r>
              <a:rPr lang="en-US" sz="1200" b="1" dirty="0">
                <a:solidFill>
                  <a:schemeClr val="bg1"/>
                </a:solidFill>
                <a:ea typeface="Calibri Light"/>
                <a:cs typeface="Calibri Light"/>
              </a:rPr>
              <a:t>3</a:t>
            </a:r>
          </a:p>
        </p:txBody>
      </p:sp>
    </p:spTree>
    <p:extLst>
      <p:ext uri="{BB962C8B-B14F-4D97-AF65-F5344CB8AC3E}">
        <p14:creationId xmlns:p14="http://schemas.microsoft.com/office/powerpoint/2010/main" val="178359621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9A70D2DF-F851-493A-983E-16EDE64A32E6}"/>
              </a:ext>
            </a:extLst>
          </p:cNvPr>
          <p:cNvSpPr txBox="1">
            <a:spLocks/>
          </p:cNvSpPr>
          <p:nvPr/>
        </p:nvSpPr>
        <p:spPr>
          <a:xfrm>
            <a:off x="501650" y="317500"/>
            <a:ext cx="11188700" cy="698501"/>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it-IT" dirty="0">
                <a:cs typeface="Calibri Light"/>
              </a:rPr>
              <a:t>APPLICAZIONE - Workflow</a:t>
            </a:r>
            <a:endParaRPr lang="en-US" dirty="0"/>
          </a:p>
        </p:txBody>
      </p:sp>
      <p:sp>
        <p:nvSpPr>
          <p:cNvPr id="3" name="Title 2">
            <a:extLst>
              <a:ext uri="{FF2B5EF4-FFF2-40B4-BE49-F238E27FC236}">
                <a16:creationId xmlns:a16="http://schemas.microsoft.com/office/drawing/2014/main" id="{46323177-A96E-4886-8C9F-616E94789D9D}"/>
              </a:ext>
            </a:extLst>
          </p:cNvPr>
          <p:cNvSpPr txBox="1">
            <a:spLocks/>
          </p:cNvSpPr>
          <p:nvPr/>
        </p:nvSpPr>
        <p:spPr>
          <a:xfrm>
            <a:off x="501650" y="890916"/>
            <a:ext cx="11188700" cy="698501"/>
          </a:xfrm>
          <a:prstGeom prst="rect">
            <a:avLst/>
          </a:prstGeom>
        </p:spPr>
        <p:txBody>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it-IT" dirty="0"/>
              <a:t>TRASFERIMENTO DEL’UN OGGETTO NEL BUCKET DAL CUBBIT AL AWS</a:t>
            </a:r>
            <a:endParaRPr lang="en-US" dirty="0"/>
          </a:p>
        </p:txBody>
      </p:sp>
      <p:pic>
        <p:nvPicPr>
          <p:cNvPr id="5" name="Picture 4">
            <a:extLst>
              <a:ext uri="{FF2B5EF4-FFF2-40B4-BE49-F238E27FC236}">
                <a16:creationId xmlns:a16="http://schemas.microsoft.com/office/drawing/2014/main" id="{638AD766-4812-4B5B-861B-55DBEECA70D7}"/>
              </a:ext>
            </a:extLst>
          </p:cNvPr>
          <p:cNvPicPr>
            <a:picLocks noChangeAspect="1"/>
          </p:cNvPicPr>
          <p:nvPr/>
        </p:nvPicPr>
        <p:blipFill>
          <a:blip r:embed="rId2"/>
          <a:stretch>
            <a:fillRect/>
          </a:stretch>
        </p:blipFill>
        <p:spPr>
          <a:xfrm>
            <a:off x="617613" y="1464332"/>
            <a:ext cx="4129047" cy="4941319"/>
          </a:xfrm>
          <a:prstGeom prst="rect">
            <a:avLst/>
          </a:prstGeom>
        </p:spPr>
      </p:pic>
      <p:cxnSp>
        <p:nvCxnSpPr>
          <p:cNvPr id="7" name="Straight Arrow Connector 6">
            <a:extLst>
              <a:ext uri="{FF2B5EF4-FFF2-40B4-BE49-F238E27FC236}">
                <a16:creationId xmlns:a16="http://schemas.microsoft.com/office/drawing/2014/main" id="{357D0F29-0FA2-4D81-8009-09CE2312B8D4}"/>
              </a:ext>
            </a:extLst>
          </p:cNvPr>
          <p:cNvCxnSpPr>
            <a:cxnSpLocks/>
          </p:cNvCxnSpPr>
          <p:nvPr/>
        </p:nvCxnSpPr>
        <p:spPr>
          <a:xfrm flipV="1">
            <a:off x="4119937" y="2518066"/>
            <a:ext cx="2558265" cy="14794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5DC114B4-FFEB-45A7-8752-C64AD1434A18}"/>
              </a:ext>
            </a:extLst>
          </p:cNvPr>
          <p:cNvCxnSpPr>
            <a:cxnSpLocks/>
          </p:cNvCxnSpPr>
          <p:nvPr/>
        </p:nvCxnSpPr>
        <p:spPr>
          <a:xfrm>
            <a:off x="3518041" y="5578180"/>
            <a:ext cx="3088242"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CA0AAA6C-61C2-448B-90A2-69A80836FC41}"/>
              </a:ext>
            </a:extLst>
          </p:cNvPr>
          <p:cNvSpPr/>
          <p:nvPr/>
        </p:nvSpPr>
        <p:spPr bwMode="gray">
          <a:xfrm>
            <a:off x="6924781" y="1589416"/>
            <a:ext cx="4530903" cy="2057909"/>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Rectangle 14">
            <a:extLst>
              <a:ext uri="{FF2B5EF4-FFF2-40B4-BE49-F238E27FC236}">
                <a16:creationId xmlns:a16="http://schemas.microsoft.com/office/drawing/2014/main" id="{147E2712-4AB3-4E4D-A0A4-BFB0AD69733B}"/>
              </a:ext>
            </a:extLst>
          </p:cNvPr>
          <p:cNvSpPr/>
          <p:nvPr/>
        </p:nvSpPr>
        <p:spPr bwMode="gray">
          <a:xfrm>
            <a:off x="6924782" y="1651062"/>
            <a:ext cx="4530902" cy="45514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Rectangle 15">
            <a:extLst>
              <a:ext uri="{FF2B5EF4-FFF2-40B4-BE49-F238E27FC236}">
                <a16:creationId xmlns:a16="http://schemas.microsoft.com/office/drawing/2014/main" id="{6192E1FE-6ADA-40D0-AE35-F8120BC3F93A}"/>
              </a:ext>
            </a:extLst>
          </p:cNvPr>
          <p:cNvSpPr/>
          <p:nvPr/>
        </p:nvSpPr>
        <p:spPr bwMode="gray">
          <a:xfrm>
            <a:off x="6924780" y="4482591"/>
            <a:ext cx="4530903" cy="2057909"/>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Rectangle 16">
            <a:extLst>
              <a:ext uri="{FF2B5EF4-FFF2-40B4-BE49-F238E27FC236}">
                <a16:creationId xmlns:a16="http://schemas.microsoft.com/office/drawing/2014/main" id="{186FDE39-1503-4B8A-85AB-932BC6BDD06E}"/>
              </a:ext>
            </a:extLst>
          </p:cNvPr>
          <p:cNvSpPr/>
          <p:nvPr/>
        </p:nvSpPr>
        <p:spPr bwMode="gray">
          <a:xfrm>
            <a:off x="6924782" y="4544236"/>
            <a:ext cx="4530902" cy="45514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 name="TextBox 17">
            <a:extLst>
              <a:ext uri="{FF2B5EF4-FFF2-40B4-BE49-F238E27FC236}">
                <a16:creationId xmlns:a16="http://schemas.microsoft.com/office/drawing/2014/main" id="{89129697-C34D-4A5C-A8A1-FDD70BE3C991}"/>
              </a:ext>
            </a:extLst>
          </p:cNvPr>
          <p:cNvSpPr txBox="1"/>
          <p:nvPr/>
        </p:nvSpPr>
        <p:spPr>
          <a:xfrm>
            <a:off x="6924780" y="1721502"/>
            <a:ext cx="4530901" cy="276999"/>
          </a:xfrm>
          <a:prstGeom prst="rect">
            <a:avLst/>
          </a:prstGeom>
          <a:noFill/>
        </p:spPr>
        <p:txBody>
          <a:bodyPr wrap="square" lIns="0" tIns="0" rIns="0" bIns="0" rtlCol="0">
            <a:spAutoFit/>
          </a:bodyPr>
          <a:lstStyle/>
          <a:p>
            <a:pPr>
              <a:spcBef>
                <a:spcPts val="600"/>
              </a:spcBef>
              <a:buSzPct val="100000"/>
            </a:pPr>
            <a:r>
              <a:rPr lang="it-IT" dirty="0">
                <a:solidFill>
                  <a:srgbClr val="313131"/>
                </a:solidFill>
              </a:rPr>
              <a:t> </a:t>
            </a:r>
            <a:r>
              <a:rPr lang="it-IT" dirty="0" err="1">
                <a:solidFill>
                  <a:srgbClr val="313131"/>
                </a:solidFill>
              </a:rPr>
              <a:t>Search</a:t>
            </a:r>
            <a:r>
              <a:rPr lang="it-IT" dirty="0">
                <a:solidFill>
                  <a:srgbClr val="313131"/>
                </a:solidFill>
              </a:rPr>
              <a:t>…</a:t>
            </a:r>
            <a:endParaRPr lang="en-US" dirty="0">
              <a:solidFill>
                <a:srgbClr val="313131"/>
              </a:solidFill>
            </a:endParaRPr>
          </a:p>
        </p:txBody>
      </p:sp>
      <p:sp>
        <p:nvSpPr>
          <p:cNvPr id="19" name="TextBox 18">
            <a:extLst>
              <a:ext uri="{FF2B5EF4-FFF2-40B4-BE49-F238E27FC236}">
                <a16:creationId xmlns:a16="http://schemas.microsoft.com/office/drawing/2014/main" id="{B2591731-5486-4C5F-BCB2-A11695A777D1}"/>
              </a:ext>
            </a:extLst>
          </p:cNvPr>
          <p:cNvSpPr txBox="1"/>
          <p:nvPr/>
        </p:nvSpPr>
        <p:spPr>
          <a:xfrm>
            <a:off x="7043486" y="2347828"/>
            <a:ext cx="4530901" cy="984885"/>
          </a:xfrm>
          <a:prstGeom prst="rect">
            <a:avLst/>
          </a:prstGeom>
          <a:noFill/>
        </p:spPr>
        <p:txBody>
          <a:bodyPr wrap="square" lIns="0" tIns="0" rIns="0" bIns="0" rtlCol="0">
            <a:spAutoFit/>
          </a:bodyPr>
          <a:lstStyle/>
          <a:p>
            <a:pPr>
              <a:spcBef>
                <a:spcPts val="600"/>
              </a:spcBef>
              <a:buSzPct val="100000"/>
            </a:pPr>
            <a:r>
              <a:rPr lang="it-IT" dirty="0">
                <a:solidFill>
                  <a:schemeClr val="bg1"/>
                </a:solidFill>
              </a:rPr>
              <a:t> File1 </a:t>
            </a:r>
          </a:p>
          <a:p>
            <a:pPr>
              <a:spcBef>
                <a:spcPts val="600"/>
              </a:spcBef>
              <a:buSzPct val="100000"/>
            </a:pPr>
            <a:r>
              <a:rPr lang="it-IT" dirty="0">
                <a:solidFill>
                  <a:schemeClr val="bg1"/>
                </a:solidFill>
              </a:rPr>
              <a:t> File2</a:t>
            </a:r>
          </a:p>
          <a:p>
            <a:pPr>
              <a:spcBef>
                <a:spcPts val="600"/>
              </a:spcBef>
              <a:buSzPct val="100000"/>
            </a:pPr>
            <a:r>
              <a:rPr lang="it-IT" dirty="0">
                <a:solidFill>
                  <a:schemeClr val="bg1"/>
                </a:solidFill>
              </a:rPr>
              <a:t> File3</a:t>
            </a:r>
          </a:p>
        </p:txBody>
      </p:sp>
      <p:cxnSp>
        <p:nvCxnSpPr>
          <p:cNvPr id="21" name="Straight Connector 20">
            <a:extLst>
              <a:ext uri="{FF2B5EF4-FFF2-40B4-BE49-F238E27FC236}">
                <a16:creationId xmlns:a16="http://schemas.microsoft.com/office/drawing/2014/main" id="{8519B257-9215-48C2-BD4A-99FB316ED280}"/>
              </a:ext>
            </a:extLst>
          </p:cNvPr>
          <p:cNvCxnSpPr/>
          <p:nvPr/>
        </p:nvCxnSpPr>
        <p:spPr>
          <a:xfrm>
            <a:off x="7746715" y="2518066"/>
            <a:ext cx="340074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E759841-966B-4AE3-8196-735F0A238F32}"/>
              </a:ext>
            </a:extLst>
          </p:cNvPr>
          <p:cNvCxnSpPr/>
          <p:nvPr/>
        </p:nvCxnSpPr>
        <p:spPr>
          <a:xfrm>
            <a:off x="7746715" y="2840270"/>
            <a:ext cx="340074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9B6BAAE-2D2C-4B1F-9A94-644700AFE184}"/>
              </a:ext>
            </a:extLst>
          </p:cNvPr>
          <p:cNvCxnSpPr/>
          <p:nvPr/>
        </p:nvCxnSpPr>
        <p:spPr>
          <a:xfrm>
            <a:off x="7746715" y="3184174"/>
            <a:ext cx="340074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7AB5F01-4487-4D81-8CE8-221CD55BA968}"/>
              </a:ext>
            </a:extLst>
          </p:cNvPr>
          <p:cNvSpPr txBox="1"/>
          <p:nvPr/>
        </p:nvSpPr>
        <p:spPr>
          <a:xfrm>
            <a:off x="6924779" y="4633306"/>
            <a:ext cx="4530901" cy="276999"/>
          </a:xfrm>
          <a:prstGeom prst="rect">
            <a:avLst/>
          </a:prstGeom>
          <a:noFill/>
        </p:spPr>
        <p:txBody>
          <a:bodyPr wrap="square" lIns="0" tIns="0" rIns="0" bIns="0" rtlCol="0">
            <a:spAutoFit/>
          </a:bodyPr>
          <a:lstStyle/>
          <a:p>
            <a:pPr>
              <a:spcBef>
                <a:spcPts val="600"/>
              </a:spcBef>
              <a:buSzPct val="100000"/>
            </a:pPr>
            <a:r>
              <a:rPr lang="it-IT" dirty="0">
                <a:solidFill>
                  <a:srgbClr val="313131"/>
                </a:solidFill>
              </a:rPr>
              <a:t>                         AWS BACKUP FOLDER</a:t>
            </a:r>
            <a:endParaRPr lang="en-US" dirty="0">
              <a:solidFill>
                <a:srgbClr val="313131"/>
              </a:solidFill>
            </a:endParaRPr>
          </a:p>
        </p:txBody>
      </p:sp>
      <p:sp>
        <p:nvSpPr>
          <p:cNvPr id="27" name="TextBox 26">
            <a:extLst>
              <a:ext uri="{FF2B5EF4-FFF2-40B4-BE49-F238E27FC236}">
                <a16:creationId xmlns:a16="http://schemas.microsoft.com/office/drawing/2014/main" id="{A239572C-83CE-4E66-BE18-3C25AE7B31BD}"/>
              </a:ext>
            </a:extLst>
          </p:cNvPr>
          <p:cNvSpPr txBox="1"/>
          <p:nvPr/>
        </p:nvSpPr>
        <p:spPr>
          <a:xfrm>
            <a:off x="7647088" y="5537475"/>
            <a:ext cx="4530901" cy="276999"/>
          </a:xfrm>
          <a:prstGeom prst="rect">
            <a:avLst/>
          </a:prstGeom>
          <a:noFill/>
        </p:spPr>
        <p:txBody>
          <a:bodyPr wrap="square" lIns="0" tIns="0" rIns="0" bIns="0" rtlCol="0">
            <a:spAutoFit/>
          </a:bodyPr>
          <a:lstStyle/>
          <a:p>
            <a:pPr>
              <a:spcBef>
                <a:spcPts val="600"/>
              </a:spcBef>
              <a:buSzPct val="100000"/>
            </a:pPr>
            <a:r>
              <a:rPr lang="it-IT" dirty="0">
                <a:solidFill>
                  <a:schemeClr val="bg1"/>
                </a:solidFill>
              </a:rPr>
              <a:t> COPY THE FILES TO THIS FOLDER</a:t>
            </a:r>
            <a:endParaRPr lang="en-US" dirty="0">
              <a:solidFill>
                <a:schemeClr val="bg1"/>
              </a:solidFill>
            </a:endParaRPr>
          </a:p>
        </p:txBody>
      </p:sp>
    </p:spTree>
    <p:extLst>
      <p:ext uri="{BB962C8B-B14F-4D97-AF65-F5344CB8AC3E}">
        <p14:creationId xmlns:p14="http://schemas.microsoft.com/office/powerpoint/2010/main" val="119716627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EMPLAFYSLIDEID" val="637673154951249175"/>
</p:tagLst>
</file>

<file path=ppt/tags/tag3.xml><?xml version="1.0" encoding="utf-8"?>
<p:tagLst xmlns:a="http://schemas.openxmlformats.org/drawingml/2006/main" xmlns:r="http://schemas.openxmlformats.org/officeDocument/2006/relationships" xmlns:p="http://schemas.openxmlformats.org/presentationml/2006/main">
  <p:tag name="TEMPLAFYSLIDEID" val="636293106604176713"/>
</p:tagLst>
</file>

<file path=ppt/tags/tag4.xml><?xml version="1.0" encoding="utf-8"?>
<p:tagLst xmlns:a="http://schemas.openxmlformats.org/drawingml/2006/main" xmlns:r="http://schemas.openxmlformats.org/officeDocument/2006/relationships" xmlns:p="http://schemas.openxmlformats.org/presentationml/2006/main">
  <p:tag name="TEMPLAFYSLIDEID" val="637323095276066367"/>
</p:tagLst>
</file>

<file path=ppt/tags/tag5.xml><?xml version="1.0" encoding="utf-8"?>
<p:tagLst xmlns:a="http://schemas.openxmlformats.org/drawingml/2006/main" xmlns:r="http://schemas.openxmlformats.org/officeDocument/2006/relationships" xmlns:p="http://schemas.openxmlformats.org/presentationml/2006/main">
  <p:tag name="TEMPLAFYSLIDEID" val="637673154959375001"/>
</p:tagLst>
</file>

<file path=ppt/theme/theme1.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CF146C4-F33C-4674-9F60-3E413DE8D245}" vid="{1FA3A202-160F-48F1-9CAA-9049691AC6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D819E88-C26A-7049-A67D-721035D0564E}">
  <we:reference id="bc920571-6166-a664-607e-68305d3e60d0"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TemplateConfiguration><![CDATA[{"elementsMetadata":[],"transformationConfigurations":[],"templateName":"Deloitte Blank","templateDescription":"","enableDocumentContentUpdater":false,"version":"2.0"}]]></TemplafyTemplateConfiguration>
</file>

<file path=customXml/item10.xml><?xml version="1.0" encoding="utf-8"?>
<TemplafySlideTemplateConfiguration><![CDATA[{"slideVersion":1,"isValidatorEnabled":false,"isLocked":false,"elementsMetadata":[],"slideId":"637921699328452289","enableDocumentContentUpdater":false,"version":"2.0"}]]></TemplafySlideTemplateConfiguration>
</file>

<file path=customXml/item11.xml><?xml version="1.0" encoding="utf-8"?>
<TemplafySlideFormConfiguration><![CDATA[{"formFields":[],"formDataEntries":[]}]]></TemplafySlideFormConfiguration>
</file>

<file path=customXml/item12.xml><?xml version="1.0" encoding="utf-8"?>
<TemplafySlideFormConfiguration><![CDATA[{"formFields":[],"formDataEntries":[]}]]></TemplafySlideFormConfiguration>
</file>

<file path=customXml/item13.xml><?xml version="1.0" encoding="utf-8"?>
<TemplafySlideTemplateConfiguration><![CDATA[{"slideVersion":1,"isValidatorEnabled":false,"isLocked":false,"elementsMetadata":[],"slideId":"637921699303454117","enableDocumentContentUpdater":false,"version":"2.0"}]]></TemplafySlideTemplateConfiguration>
</file>

<file path=customXml/item14.xml><?xml version="1.0" encoding="utf-8"?>
<TemplafySlideFormConfiguration><![CDATA[{"formFields":[],"formDataEntries":[]}]]></TemplafySlideFormConfiguration>
</file>

<file path=customXml/item15.xml><?xml version="1.0" encoding="utf-8"?>
<TemplafySlideTemplateConfiguration><![CDATA[{"slideVersion":1,"isValidatorEnabled":false,"isLocked":false,"elementsMetadata":[],"slideId":"637690277057707143","enableDocumentContentUpdater":false,"version":"2.0"}]]></TemplafySlideTemplateConfiguration>
</file>

<file path=customXml/item16.xml><?xml version="1.0" encoding="utf-8"?>
<TemplafySlideTemplateConfiguration><![CDATA[{"slideVersion":1,"isValidatorEnabled":false,"isLocked":false,"elementsMetadata":[],"slideId":"637921701712612337","enableDocumentContentUpdater":false,"version":"2.0"}]]></TemplafySlideTemplateConfiguration>
</file>

<file path=customXml/item17.xml><?xml version="1.0" encoding="utf-8"?>
<TemplafySlideFormConfiguration><![CDATA[{"formFields":[],"formDataEntries":[]}]]></TemplafySlideFormConfiguration>
</file>

<file path=customXml/item18.xml><?xml version="1.0" encoding="utf-8"?>
<TemplafySlideTemplateConfiguration><![CDATA[{"slideVersion":1,"isValidatorEnabled":false,"isLocked":false,"elementsMetadata":[],"slideId":"637921701712612337","enableDocumentContentUpdater":false,"version":"2.0"}]]></TemplafySlideTemplateConfiguration>
</file>

<file path=customXml/item19.xml><?xml version="1.0" encoding="utf-8"?>
<TemplafySlideFormConfiguration><![CDATA[{"formFields":[],"formDataEntries":[]}]]></TemplafySlideFormConfiguration>
</file>

<file path=customXml/item2.xml><?xml version="1.0" encoding="utf-8"?>
<TemplafyFormConfiguration><![CDATA[{"formFields":[],"formDataEntries":[]}]]></TemplafyFormConfiguration>
</file>

<file path=customXml/item20.xml><?xml version="1.0" encoding="utf-8"?>
<TemplafySlideFormConfiguration><![CDATA[{"formFields":[],"formDataEntries":[]}]]></TemplafySlideFormConfiguration>
</file>

<file path=customXml/item21.xml><?xml version="1.0" encoding="utf-8"?>
<TemplafySlideTemplateConfiguration><![CDATA[{"slideVersion":1,"isValidatorEnabled":false,"isLocked":false,"elementsMetadata":[],"slideId":"637921701712612337","enableDocumentContentUpdater":false,"version":"2.0"}]]></TemplafySlideTemplateConfiguration>
</file>

<file path=customXml/item22.xml><?xml version="1.0" encoding="utf-8"?>
<TemplafySlideFormConfiguration><![CDATA[{"formFields":[],"formDataEntries":[]}]]></TemplafySlideFormConfiguration>
</file>

<file path=customXml/item23.xml><?xml version="1.0" encoding="utf-8"?>
<TemplafySlideTemplateConfiguration><![CDATA[{"slideVersion":1,"isValidatorEnabled":false,"isLocked":false,"elementsMetadata":[],"slideId":"637921701712612337","enableDocumentContentUpdater":false,"version":"2.0"}]]></TemplafySlideTemplateConfiguration>
</file>

<file path=customXml/item24.xml><?xml version="1.0" encoding="utf-8"?>
<TemplafySlideFormConfiguration><![CDATA[{"formFields":[],"formDataEntries":[]}]]></TemplafySlideFormConfiguration>
</file>

<file path=customXml/item25.xml><?xml version="1.0" encoding="utf-8"?>
<TemplafySlideTemplateConfiguration><![CDATA[{"slideVersion":1,"isValidatorEnabled":false,"isLocked":false,"elementsMetadata":[],"slideId":"637921701712612337","enableDocumentContentUpdater":false,"version":"2.0"}]]></TemplafySlideTemplateConfiguration>
</file>

<file path=customXml/item26.xml><?xml version="1.0" encoding="utf-8"?>
<TemplafySlideFormConfiguration><![CDATA[{"formFields":[],"formDataEntries":[]}]]></TemplafySlideFormConfiguration>
</file>

<file path=customXml/item27.xml><?xml version="1.0" encoding="utf-8"?>
<TemplafySlideTemplateConfiguration><![CDATA[{"slideVersion":1,"isValidatorEnabled":false,"isLocked":false,"elementsMetadata":[],"slideId":"637921701712612337","enableDocumentContentUpdater":false,"version":"2.0"}]]></TemplafySlideTemplateConfiguration>
</file>

<file path=customXml/item28.xml><?xml version="1.0" encoding="utf-8"?>
<TemplafySlideFormConfiguration><![CDATA[{"formFields":[],"formDataEntries":[]}]]></TemplafySlideFormConfiguration>
</file>

<file path=customXml/item29.xml><?xml version="1.0" encoding="utf-8"?>
<TemplafySlideTemplateConfiguration><![CDATA[{"slideVersion":1,"isValidatorEnabled":false,"isLocked":false,"elementsMetadata":[],"slideId":"637921701712612337","enableDocumentContentUpdater":false,"version":"2.0"}]]></TemplafySlideTemplateConfiguration>
</file>

<file path=customXml/item3.xml><?xml version="1.0" encoding="utf-8"?>
<p:properties xmlns:p="http://schemas.microsoft.com/office/2006/metadata/properties" xmlns:xsi="http://www.w3.org/2001/XMLSchema-instance" xmlns:pc="http://schemas.microsoft.com/office/infopath/2007/PartnerControls">
  <documentManagement>
    <_activity xmlns="ea17d398-48e2-47cb-9006-f4695d004f67" xsi:nil="true"/>
  </documentManagement>
</p:properties>
</file>

<file path=customXml/item30.xml><?xml version="1.0" encoding="utf-8"?>
<TemplafySlideFormConfiguration><![CDATA[{"formFields":[],"formDataEntries":[]}]]></TemplafySlideFormConfiguration>
</file>

<file path=customXml/item31.xml><?xml version="1.0" encoding="utf-8"?>
<TemplafySlideTemplateConfiguration><![CDATA[{"slideVersion":1,"isValidatorEnabled":false,"isLocked":false,"elementsMetadata":[],"slideId":"637690278753254048","enableDocumentContentUpdater":false,"version":"2.0"}]]></TemplafySlideTemplateConfiguration>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ct:contentTypeSchema xmlns:ct="http://schemas.microsoft.com/office/2006/metadata/contentType" xmlns:ma="http://schemas.microsoft.com/office/2006/metadata/properties/metaAttributes" ct:_="" ma:_="" ma:contentTypeName="Document" ma:contentTypeID="0x010100CB8DDA29A0988C43BC8BBF8EE34677E0" ma:contentTypeVersion="6" ma:contentTypeDescription="Create a new document." ma:contentTypeScope="" ma:versionID="849163734d45c5aa93a1b95e4fa212d1">
  <xsd:schema xmlns:xsd="http://www.w3.org/2001/XMLSchema" xmlns:xs="http://www.w3.org/2001/XMLSchema" xmlns:p="http://schemas.microsoft.com/office/2006/metadata/properties" xmlns:ns3="ea17d398-48e2-47cb-9006-f4695d004f67" xmlns:ns4="d790e42f-263b-4ae6-b9b4-06a39f2ad0fc" targetNamespace="http://schemas.microsoft.com/office/2006/metadata/properties" ma:root="true" ma:fieldsID="618efc15d2f3b5287bcc74602a93d8e5" ns3:_="" ns4:_="">
    <xsd:import namespace="ea17d398-48e2-47cb-9006-f4695d004f67"/>
    <xsd:import namespace="d790e42f-263b-4ae6-b9b4-06a39f2ad0fc"/>
    <xsd:element name="properties">
      <xsd:complexType>
        <xsd:sequence>
          <xsd:element name="documentManagement">
            <xsd:complexType>
              <xsd:all>
                <xsd:element ref="ns3:MediaServiceMetadata" minOccurs="0"/>
                <xsd:element ref="ns3:MediaServiceFastMetadata" minOccurs="0"/>
                <xsd:element ref="ns3:_activity"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17d398-48e2-47cb-9006-f4695d004f6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_activity" ma:index="10"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790e42f-263b-4ae6-b9b4-06a39f2ad0f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SharingHintHash" ma:index="13"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TemplafySlideTemplateConfiguration><![CDATA[{"slideVersion":1,"isValidatorEnabled":false,"isLocked":false,"elementsMetadata":[],"slideId":"637690278680915926","enableDocumentContentUpdater":false,"version":"2.0"}]]></TemplafySlideTemplateConfiguration>
</file>

<file path=customXml/item7.xml><?xml version="1.0" encoding="utf-8"?>
<TemplafySlideFormConfiguration><![CDATA[{"formFields":[],"formDataEntries":[]}]]></TemplafySlideFormConfiguration>
</file>

<file path=customXml/item8.xml><?xml version="1.0" encoding="utf-8"?>
<TemplafySlideFormConfiguration><![CDATA[{"formFields":[],"formDataEntries":[]}]]></TemplafySlideFormConfiguration>
</file>

<file path=customXml/item9.xml><?xml version="1.0" encoding="utf-8"?>
<TemplafySlideTemplateConfiguration><![CDATA[{"slideVersion":1,"isValidatorEnabled":false,"isLocked":false,"elementsMetadata":[],"slideId":"637739627014294882","enableDocumentContentUpdater":false,"version":"2.0"}]]></TemplafySlideTemplateConfiguration>
</file>

<file path=customXml/itemProps1.xml><?xml version="1.0" encoding="utf-8"?>
<ds:datastoreItem xmlns:ds="http://schemas.openxmlformats.org/officeDocument/2006/customXml" ds:itemID="{3EBCD3C2-26E1-4749-B37E-3B38E6A7E58A}">
  <ds:schemaRefs/>
</ds:datastoreItem>
</file>

<file path=customXml/itemProps10.xml><?xml version="1.0" encoding="utf-8"?>
<ds:datastoreItem xmlns:ds="http://schemas.openxmlformats.org/officeDocument/2006/customXml" ds:itemID="{27943A9C-E5CB-46E2-8389-879EA9DF8B09}">
  <ds:schemaRefs/>
</ds:datastoreItem>
</file>

<file path=customXml/itemProps11.xml><?xml version="1.0" encoding="utf-8"?>
<ds:datastoreItem xmlns:ds="http://schemas.openxmlformats.org/officeDocument/2006/customXml" ds:itemID="{790244AC-F973-4804-84C5-65D8CF0AD189}">
  <ds:schemaRefs/>
</ds:datastoreItem>
</file>

<file path=customXml/itemProps12.xml><?xml version="1.0" encoding="utf-8"?>
<ds:datastoreItem xmlns:ds="http://schemas.openxmlformats.org/officeDocument/2006/customXml" ds:itemID="{B778F890-BE09-45BB-9A3B-53194D360958}">
  <ds:schemaRefs/>
</ds:datastoreItem>
</file>

<file path=customXml/itemProps13.xml><?xml version="1.0" encoding="utf-8"?>
<ds:datastoreItem xmlns:ds="http://schemas.openxmlformats.org/officeDocument/2006/customXml" ds:itemID="{173D635F-639C-4D43-B3E6-3F1F4E37F149}">
  <ds:schemaRefs/>
</ds:datastoreItem>
</file>

<file path=customXml/itemProps14.xml><?xml version="1.0" encoding="utf-8"?>
<ds:datastoreItem xmlns:ds="http://schemas.openxmlformats.org/officeDocument/2006/customXml" ds:itemID="{1C4668D1-A510-4BE2-A5F0-131D7BF34F4B}">
  <ds:schemaRefs/>
</ds:datastoreItem>
</file>

<file path=customXml/itemProps15.xml><?xml version="1.0" encoding="utf-8"?>
<ds:datastoreItem xmlns:ds="http://schemas.openxmlformats.org/officeDocument/2006/customXml" ds:itemID="{516F7BE5-AC74-425E-A5BA-1DC3AA0EF156}">
  <ds:schemaRefs/>
</ds:datastoreItem>
</file>

<file path=customXml/itemProps16.xml><?xml version="1.0" encoding="utf-8"?>
<ds:datastoreItem xmlns:ds="http://schemas.openxmlformats.org/officeDocument/2006/customXml" ds:itemID="{3F6F596F-3780-49F6-82C3-4BF96FBDB2BF}">
  <ds:schemaRefs/>
</ds:datastoreItem>
</file>

<file path=customXml/itemProps17.xml><?xml version="1.0" encoding="utf-8"?>
<ds:datastoreItem xmlns:ds="http://schemas.openxmlformats.org/officeDocument/2006/customXml" ds:itemID="{13670268-2052-44ED-AF36-7F9EC02EA3DE}">
  <ds:schemaRefs/>
</ds:datastoreItem>
</file>

<file path=customXml/itemProps18.xml><?xml version="1.0" encoding="utf-8"?>
<ds:datastoreItem xmlns:ds="http://schemas.openxmlformats.org/officeDocument/2006/customXml" ds:itemID="{62B97C84-2E1F-1744-823D-9EF31351F666}">
  <ds:schemaRefs/>
</ds:datastoreItem>
</file>

<file path=customXml/itemProps19.xml><?xml version="1.0" encoding="utf-8"?>
<ds:datastoreItem xmlns:ds="http://schemas.openxmlformats.org/officeDocument/2006/customXml" ds:itemID="{A02A9BDD-29E7-3240-9E22-4A9F39142FE6}">
  <ds:schemaRefs/>
</ds:datastoreItem>
</file>

<file path=customXml/itemProps2.xml><?xml version="1.0" encoding="utf-8"?>
<ds:datastoreItem xmlns:ds="http://schemas.openxmlformats.org/officeDocument/2006/customXml" ds:itemID="{1BA1A0FF-B638-4C21-97C7-AC74F44DF38E}">
  <ds:schemaRefs/>
</ds:datastoreItem>
</file>

<file path=customXml/itemProps20.xml><?xml version="1.0" encoding="utf-8"?>
<ds:datastoreItem xmlns:ds="http://schemas.openxmlformats.org/officeDocument/2006/customXml" ds:itemID="{06784E4D-1348-A34E-94B7-17128FFF1D78}">
  <ds:schemaRefs/>
</ds:datastoreItem>
</file>

<file path=customXml/itemProps21.xml><?xml version="1.0" encoding="utf-8"?>
<ds:datastoreItem xmlns:ds="http://schemas.openxmlformats.org/officeDocument/2006/customXml" ds:itemID="{996DB6F8-E18C-C64E-98A6-6F92215147C6}">
  <ds:schemaRefs/>
</ds:datastoreItem>
</file>

<file path=customXml/itemProps22.xml><?xml version="1.0" encoding="utf-8"?>
<ds:datastoreItem xmlns:ds="http://schemas.openxmlformats.org/officeDocument/2006/customXml" ds:itemID="{27451B68-E502-7E4D-B743-593954D9E9CE}">
  <ds:schemaRefs/>
</ds:datastoreItem>
</file>

<file path=customXml/itemProps23.xml><?xml version="1.0" encoding="utf-8"?>
<ds:datastoreItem xmlns:ds="http://schemas.openxmlformats.org/officeDocument/2006/customXml" ds:itemID="{51369FF6-CF47-2541-9A5A-EE6F4395D718}">
  <ds:schemaRefs/>
</ds:datastoreItem>
</file>

<file path=customXml/itemProps24.xml><?xml version="1.0" encoding="utf-8"?>
<ds:datastoreItem xmlns:ds="http://schemas.openxmlformats.org/officeDocument/2006/customXml" ds:itemID="{EF8D17E3-205C-5347-A3CD-497DE139C008}">
  <ds:schemaRefs/>
</ds:datastoreItem>
</file>

<file path=customXml/itemProps25.xml><?xml version="1.0" encoding="utf-8"?>
<ds:datastoreItem xmlns:ds="http://schemas.openxmlformats.org/officeDocument/2006/customXml" ds:itemID="{732A32A0-83F5-9246-864B-9200402A4F1A}">
  <ds:schemaRefs/>
</ds:datastoreItem>
</file>

<file path=customXml/itemProps26.xml><?xml version="1.0" encoding="utf-8"?>
<ds:datastoreItem xmlns:ds="http://schemas.openxmlformats.org/officeDocument/2006/customXml" ds:itemID="{27707BD2-0071-B144-AC68-16156021C9BA}">
  <ds:schemaRefs/>
</ds:datastoreItem>
</file>

<file path=customXml/itemProps27.xml><?xml version="1.0" encoding="utf-8"?>
<ds:datastoreItem xmlns:ds="http://schemas.openxmlformats.org/officeDocument/2006/customXml" ds:itemID="{5843205F-4E32-C74C-8AAB-D321807CC4C7}">
  <ds:schemaRefs/>
</ds:datastoreItem>
</file>

<file path=customXml/itemProps28.xml><?xml version="1.0" encoding="utf-8"?>
<ds:datastoreItem xmlns:ds="http://schemas.openxmlformats.org/officeDocument/2006/customXml" ds:itemID="{2432EBD3-EC4C-9A45-AAC4-E2CDD6084E89}">
  <ds:schemaRefs/>
</ds:datastoreItem>
</file>

<file path=customXml/itemProps29.xml><?xml version="1.0" encoding="utf-8"?>
<ds:datastoreItem xmlns:ds="http://schemas.openxmlformats.org/officeDocument/2006/customXml" ds:itemID="{1529610A-A415-3B4D-B2B9-237799DD310D}">
  <ds:schemaRefs/>
</ds:datastoreItem>
</file>

<file path=customXml/itemProps3.xml><?xml version="1.0" encoding="utf-8"?>
<ds:datastoreItem xmlns:ds="http://schemas.openxmlformats.org/officeDocument/2006/customXml" ds:itemID="{253EF44F-7208-4A2B-BE5A-82C5D09B0E8E}">
  <ds:schemaRefs>
    <ds:schemaRef ds:uri="http://purl.org/dc/elements/1.1/"/>
    <ds:schemaRef ds:uri="http://purl.org/dc/terms/"/>
    <ds:schemaRef ds:uri="http://www.w3.org/XML/1998/namespace"/>
    <ds:schemaRef ds:uri="http://schemas.microsoft.com/office/2006/metadata/properties"/>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d790e42f-263b-4ae6-b9b4-06a39f2ad0fc"/>
    <ds:schemaRef ds:uri="ea17d398-48e2-47cb-9006-f4695d004f67"/>
  </ds:schemaRefs>
</ds:datastoreItem>
</file>

<file path=customXml/itemProps30.xml><?xml version="1.0" encoding="utf-8"?>
<ds:datastoreItem xmlns:ds="http://schemas.openxmlformats.org/officeDocument/2006/customXml" ds:itemID="{0008DC86-E940-4E29-843A-5BA1DA79C542}">
  <ds:schemaRefs/>
</ds:datastoreItem>
</file>

<file path=customXml/itemProps31.xml><?xml version="1.0" encoding="utf-8"?>
<ds:datastoreItem xmlns:ds="http://schemas.openxmlformats.org/officeDocument/2006/customXml" ds:itemID="{E53C29A2-4737-4852-9F26-0183CE73C73F}">
  <ds:schemaRefs/>
</ds:datastoreItem>
</file>

<file path=customXml/itemProps4.xml><?xml version="1.0" encoding="utf-8"?>
<ds:datastoreItem xmlns:ds="http://schemas.openxmlformats.org/officeDocument/2006/customXml" ds:itemID="{11528FA8-C694-40E0-AED4-26A2C6C9AE59}">
  <ds:schemaRefs>
    <ds:schemaRef ds:uri="http://schemas.microsoft.com/sharepoint/v3/contenttype/forms"/>
  </ds:schemaRefs>
</ds:datastoreItem>
</file>

<file path=customXml/itemProps5.xml><?xml version="1.0" encoding="utf-8"?>
<ds:datastoreItem xmlns:ds="http://schemas.openxmlformats.org/officeDocument/2006/customXml" ds:itemID="{E5BA6758-4EDB-44DA-BD9F-1721581CE6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a17d398-48e2-47cb-9006-f4695d004f67"/>
    <ds:schemaRef ds:uri="d790e42f-263b-4ae6-b9b4-06a39f2ad0f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ED0EECB3-E159-4512-9413-92CEB2F98A86}">
  <ds:schemaRefs/>
</ds:datastoreItem>
</file>

<file path=customXml/itemProps7.xml><?xml version="1.0" encoding="utf-8"?>
<ds:datastoreItem xmlns:ds="http://schemas.openxmlformats.org/officeDocument/2006/customXml" ds:itemID="{5C9A9C09-8D6A-422E-8205-D123D27347FC}">
  <ds:schemaRefs/>
</ds:datastoreItem>
</file>

<file path=customXml/itemProps8.xml><?xml version="1.0" encoding="utf-8"?>
<ds:datastoreItem xmlns:ds="http://schemas.openxmlformats.org/officeDocument/2006/customXml" ds:itemID="{041CC4D7-B5D2-4A65-951E-E67410129EDA}">
  <ds:schemaRefs/>
</ds:datastoreItem>
</file>

<file path=customXml/itemProps9.xml><?xml version="1.0" encoding="utf-8"?>
<ds:datastoreItem xmlns:ds="http://schemas.openxmlformats.org/officeDocument/2006/customXml" ds:itemID="{00365AE9-1331-4065-99D0-010EA7FE0E8C}">
  <ds:schemaRefs/>
</ds:datastoreItem>
</file>

<file path=docProps/app.xml><?xml version="1.0" encoding="utf-8"?>
<Properties xmlns="http://schemas.openxmlformats.org/officeDocument/2006/extended-properties" xmlns:vt="http://schemas.openxmlformats.org/officeDocument/2006/docPropsVTypes">
  <Template>Deloitte_Brand_Theme</Template>
  <TotalTime>239</TotalTime>
  <Words>1358</Words>
  <Application>Microsoft Macintosh PowerPoint</Application>
  <PresentationFormat>Widescreen</PresentationFormat>
  <Paragraphs>238</Paragraphs>
  <Slides>23</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rial</vt:lpstr>
      <vt:lpstr>Calibri</vt:lpstr>
      <vt:lpstr>Calibri Light</vt:lpstr>
      <vt:lpstr>Verdana</vt:lpstr>
      <vt:lpstr>Wingdings</vt:lpstr>
      <vt:lpstr>Wingdings 2</vt:lpstr>
      <vt:lpstr>Deloitte Brand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ARCHITETTURA DELL’APPLICAZIONE SU SOFTWARE</vt:lpstr>
      <vt:lpstr>Sintesi delle funzioni dell’APPLICAZIONE </vt:lpstr>
      <vt:lpstr>Sintesi delle funzioni dell’APPLICAZIONE    </vt:lpstr>
      <vt:lpstr>l'invio di informazioni da AWS a CUBBIT  </vt:lpstr>
      <vt:lpstr>I passaggi per l'invio di informazioni da AWS a CUBBIT          Passo 1</vt:lpstr>
      <vt:lpstr>I passaggi per l'invio di informazioni da AWS a CUBBIT          Passo 2</vt:lpstr>
      <vt:lpstr>I passaggi per l'invio di informazioni da AWS a CUBBIT          Passo 3</vt:lpstr>
      <vt:lpstr>I passaggi per l'invio di informazioni da AWS a CUBBIT          Passo 4</vt:lpstr>
      <vt:lpstr>I passaggi per l'invio di informazioni da AWS a CUBBIT          Passo 5</vt:lpstr>
      <vt:lpstr>I passaggi per l'invio di informazioni da AWS a CUBBIT          Passo 6</vt:lpstr>
      <vt:lpstr>I passaggi per l'invio di informazioni da AWS a CUBBIT          Passo 8</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rlusconi, Antonella</dc:creator>
  <cp:lastModifiedBy>Delibalta, Berk</cp:lastModifiedBy>
  <cp:revision>275</cp:revision>
  <dcterms:created xsi:type="dcterms:W3CDTF">2023-02-15T08:39:08Z</dcterms:created>
  <dcterms:modified xsi:type="dcterms:W3CDTF">2023-03-31T07:5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11-25T17:14:3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eaa83c7-7f05-4ea9-baec-f31825758f48</vt:lpwstr>
  </property>
  <property fmtid="{D5CDD505-2E9C-101B-9397-08002B2CF9AE}" pid="8" name="MSIP_Label_ea60d57e-af5b-4752-ac57-3e4f28ca11dc_ContentBits">
    <vt:lpwstr>0</vt:lpwstr>
  </property>
  <property fmtid="{D5CDD505-2E9C-101B-9397-08002B2CF9AE}" pid="9" name="TemplafyTimeStamp">
    <vt:lpwstr>2021-12-01T13:38:21</vt:lpwstr>
  </property>
  <property fmtid="{D5CDD505-2E9C-101B-9397-08002B2CF9AE}" pid="10" name="TemplafyTenantId">
    <vt:lpwstr>deloittecm</vt:lpwstr>
  </property>
  <property fmtid="{D5CDD505-2E9C-101B-9397-08002B2CF9AE}" pid="11" name="TemplafyTemplateId">
    <vt:lpwstr>637739627007274728</vt:lpwstr>
  </property>
  <property fmtid="{D5CDD505-2E9C-101B-9397-08002B2CF9AE}" pid="12" name="TemplafyUserProfileId">
    <vt:lpwstr>638105193952893913</vt:lpwstr>
  </property>
  <property fmtid="{D5CDD505-2E9C-101B-9397-08002B2CF9AE}" pid="13" name="TemplafyFromBlank">
    <vt:bool>true</vt:bool>
  </property>
  <property fmtid="{D5CDD505-2E9C-101B-9397-08002B2CF9AE}" pid="14" name="ContentTypeId">
    <vt:lpwstr>0x010100CB8DDA29A0988C43BC8BBF8EE34677E0</vt:lpwstr>
  </property>
</Properties>
</file>